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3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13" r:id="rId5"/>
    <p:sldMasterId id="2147483829" r:id="rId6"/>
  </p:sldMasterIdLst>
  <p:notesMasterIdLst>
    <p:notesMasterId r:id="rId20"/>
  </p:notesMasterIdLst>
  <p:handoutMasterIdLst>
    <p:handoutMasterId r:id="rId21"/>
  </p:handoutMasterIdLst>
  <p:sldIdLst>
    <p:sldId id="281" r:id="rId7"/>
    <p:sldId id="299" r:id="rId8"/>
    <p:sldId id="296" r:id="rId9"/>
    <p:sldId id="290" r:id="rId10"/>
    <p:sldId id="291" r:id="rId11"/>
    <p:sldId id="295" r:id="rId12"/>
    <p:sldId id="302" r:id="rId13"/>
    <p:sldId id="292" r:id="rId14"/>
    <p:sldId id="293" r:id="rId15"/>
    <p:sldId id="297" r:id="rId16"/>
    <p:sldId id="301" r:id="rId17"/>
    <p:sldId id="300" r:id="rId18"/>
    <p:sldId id="282" r:id="rId19"/>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281"/>
            <p14:sldId id="299"/>
            <p14:sldId id="296"/>
            <p14:sldId id="290"/>
            <p14:sldId id="291"/>
            <p14:sldId id="295"/>
            <p14:sldId id="302"/>
            <p14:sldId id="292"/>
            <p14:sldId id="293"/>
            <p14:sldId id="297"/>
            <p14:sldId id="301"/>
            <p14:sldId id="300"/>
            <p14:sldId id="282"/>
          </p14:sldIdLst>
        </p14:section>
      </p14:sectionLst>
    </p:ex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FF"/>
    <a:srgbClr val="CC00FF"/>
    <a:srgbClr val="D5F0FF"/>
    <a:srgbClr val="2B0A3D"/>
    <a:srgbClr val="FF304C"/>
    <a:srgbClr val="FFFFC9"/>
    <a:srgbClr val="C7FF17"/>
    <a:srgbClr val="8E0000"/>
    <a:srgbClr val="95E616"/>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09" autoAdjust="0"/>
    <p:restoredTop sz="76909" autoAdjust="0"/>
  </p:normalViewPr>
  <p:slideViewPr>
    <p:cSldViewPr>
      <p:cViewPr>
        <p:scale>
          <a:sx n="70" d="100"/>
          <a:sy n="70" d="100"/>
        </p:scale>
        <p:origin x="-1014" y="-1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67" d="100"/>
          <a:sy n="67" d="100"/>
        </p:scale>
        <p:origin x="-3120"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9-11-2018</a:t>
            </a:fld>
            <a:endParaRPr lang="pt-PT"/>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9/1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a:t>
            </a:fld>
            <a:endParaRPr lang="en-US" dirty="0"/>
          </a:p>
        </p:txBody>
      </p:sp>
    </p:spTree>
    <p:extLst>
      <p:ext uri="{BB962C8B-B14F-4D97-AF65-F5344CB8AC3E}">
        <p14:creationId xmlns:p14="http://schemas.microsoft.com/office/powerpoint/2010/main" val="3216489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Unskilled </a:t>
            </a:r>
            <a:r>
              <a:rPr lang="en-US" sz="1200" b="0" i="0" kern="1200" dirty="0" err="1" smtClean="0">
                <a:solidFill>
                  <a:schemeClr val="tx1"/>
                </a:solidFill>
                <a:effectLst/>
                <a:latin typeface="+mn-lt"/>
                <a:ea typeface="+mn-ea"/>
                <a:cs typeface="+mn-cs"/>
              </a:rPr>
              <a:t>labour</a:t>
            </a:r>
            <a:r>
              <a:rPr lang="en-US" sz="1200" b="0" i="0" kern="1200" dirty="0" smtClean="0">
                <a:solidFill>
                  <a:schemeClr val="tx1"/>
                </a:solidFill>
                <a:effectLst/>
                <a:latin typeface="+mn-lt"/>
                <a:ea typeface="+mn-ea"/>
                <a:cs typeface="+mn-cs"/>
              </a:rPr>
              <a:t> refer to workers in the elementary occupation as defined by the Census and Statistics Department.</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527421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Unskilled </a:t>
            </a:r>
            <a:r>
              <a:rPr lang="en-US" sz="1200" b="0" i="0" kern="1200" dirty="0" err="1" smtClean="0">
                <a:solidFill>
                  <a:schemeClr val="tx1"/>
                </a:solidFill>
                <a:effectLst/>
                <a:latin typeface="+mn-lt"/>
                <a:ea typeface="+mn-ea"/>
                <a:cs typeface="+mn-cs"/>
              </a:rPr>
              <a:t>labour</a:t>
            </a:r>
            <a:r>
              <a:rPr lang="en-US" sz="1200" b="0" i="0" kern="1200" dirty="0" smtClean="0">
                <a:solidFill>
                  <a:schemeClr val="tx1"/>
                </a:solidFill>
                <a:effectLst/>
                <a:latin typeface="+mn-lt"/>
                <a:ea typeface="+mn-ea"/>
                <a:cs typeface="+mn-cs"/>
              </a:rPr>
              <a:t> refer to workers in the elementary occupation as defined by the Census and Statistics Department.</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2527421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www.google.co.in/url?sa=i&amp;source=images&amp;cd=&amp;cad=rja&amp;uact=8&amp;ved=2ahUKEwirjbnZuPbeAhUQiHAKHfIQA4AQjhx6BAgBEAM&amp;url=https%3A%2F%2Fwww.researchgate.net%2Fpublication%2F4053602_Comparison_of_bottleneck_detection_methods_for_AGV_systems&amp;psig=AOvVaw1Lhee8SrMFqyjYsC5sYX8h&amp;ust=1543472154346025</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708063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3</a:t>
            </a:fld>
            <a:endParaRPr lang="en-US" dirty="0"/>
          </a:p>
        </p:txBody>
      </p:sp>
    </p:spTree>
    <p:extLst>
      <p:ext uri="{BB962C8B-B14F-4D97-AF65-F5344CB8AC3E}">
        <p14:creationId xmlns:p14="http://schemas.microsoft.com/office/powerpoint/2010/main" val="1760333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6.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2.svg"/><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7.sv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6.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23.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25.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3.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5.xml"/><Relationship Id="rId4" Type="http://schemas.openxmlformats.org/officeDocument/2006/relationships/tags" Target="../tags/tag20.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2.xml"/><Relationship Id="rId7" Type="http://schemas.openxmlformats.org/officeDocument/2006/relationships/oleObject" Target="../embeddings/oleObject6.bin"/><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slideMaster" Target="../slideMasters/slideMaster5.xml"/><Relationship Id="rId5" Type="http://schemas.openxmlformats.org/officeDocument/2006/relationships/tags" Target="../tags/tag24.xml"/><Relationship Id="rId4" Type="http://schemas.openxmlformats.org/officeDocument/2006/relationships/tags" Target="../tags/tag23.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23.emf"/><Relationship Id="rId4" Type="http://schemas.openxmlformats.org/officeDocument/2006/relationships/tags" Target="../tags/tag27.xml"/><Relationship Id="rId9" Type="http://schemas.openxmlformats.org/officeDocument/2006/relationships/oleObject" Target="../embeddings/oleObject7.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9.vml"/><Relationship Id="rId5" Type="http://schemas.openxmlformats.org/officeDocument/2006/relationships/image" Target="../media/image23.emf"/><Relationship Id="rId4" Type="http://schemas.openxmlformats.org/officeDocument/2006/relationships/oleObject" Target="../embeddings/oleObject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image" Target="../media/image27.jpe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5.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12.vml"/><Relationship Id="rId5" Type="http://schemas.openxmlformats.org/officeDocument/2006/relationships/image" Target="../media/image28.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a:solidFill>
                <a:prstClr val="white"/>
              </a:solidFill>
            </a:endParaRPr>
          </a:p>
        </p:txBody>
      </p:sp>
      <p:sp>
        <p:nvSpPr>
          <p:cNvPr id="17" name="Rectangle 7"/>
          <p:cNvSpPr/>
          <p:nvPr userDrawn="1">
            <p:custDataLst>
              <p:tags r:id="rId3"/>
            </p:custDataLst>
          </p:nvPr>
        </p:nvSpPr>
        <p:spPr bwMode="auto">
          <a:xfrm>
            <a:off x="4" y="0"/>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defTabSz="957756"/>
            <a:endParaRPr lang="en-US" sz="1000">
              <a:solidFill>
                <a:prstClr val="white"/>
              </a:solidFill>
              <a:cs typeface="Arial"/>
            </a:endParaRPr>
          </a:p>
        </p:txBody>
      </p:sp>
      <p:pic>
        <p:nvPicPr>
          <p:cNvPr id="11" name="Image 10" descr="Capgemini_logo.jpg"/>
          <p:cNvPicPr>
            <a:picLocks noChangeAspect="1"/>
          </p:cNvPicPr>
          <p:nvPr userDrawn="1"/>
        </p:nvPicPr>
        <p:blipFill>
          <a:blip r:embed="rId9" cstate="print"/>
          <a:stretch>
            <a:fillRect/>
          </a:stretch>
        </p:blipFill>
        <p:spPr>
          <a:xfrm>
            <a:off x="905464" y="658705"/>
            <a:ext cx="384048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569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tretch>
            <a:fillRect/>
          </a:stretch>
        </p:blipFill>
        <p:spPr bwMode="auto">
          <a:xfrm>
            <a:off x="7880053" y="6509557"/>
            <a:ext cx="3852768" cy="239889"/>
          </a:xfrm>
          <a:prstGeom prst="rect">
            <a:avLst/>
          </a:prstGeom>
          <a:noFill/>
          <a:ln>
            <a:noFill/>
          </a:ln>
        </p:spPr>
      </p:pic>
      <p:sp>
        <p:nvSpPr>
          <p:cNvPr id="2" name="Title 1"/>
          <p:cNvSpPr>
            <a:spLocks noGrp="1"/>
          </p:cNvSpPr>
          <p:nvPr>
            <p:ph type="ctrTitle" hasCustomPrompt="1"/>
            <p:custDataLst>
              <p:tags r:id="rId6"/>
            </p:custDataLst>
          </p:nvPr>
        </p:nvSpPr>
        <p:spPr>
          <a:xfrm>
            <a:off x="2" y="2959929"/>
            <a:ext cx="6713516"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5988827" y="4949696"/>
            <a:ext cx="6203183"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266407614"/>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67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4900184"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defTabSz="957756" eaLnBrk="0" fontAlgn="base" hangingPunct="0">
              <a:lnSpc>
                <a:spcPct val="85000"/>
              </a:lnSpc>
              <a:spcBef>
                <a:spcPct val="0"/>
              </a:spcBef>
              <a:spcAft>
                <a:spcPct val="0"/>
              </a:spcAft>
            </a:pPr>
            <a:endParaRPr lang="en-US" sz="2000" b="1">
              <a:solidFill>
                <a:srgbClr val="909090"/>
              </a:solidFill>
              <a:cs typeface="Arial" charset="0"/>
            </a:endParaRPr>
          </a:p>
        </p:txBody>
      </p:sp>
      <p:sp>
        <p:nvSpPr>
          <p:cNvPr id="2" name="Titre 1"/>
          <p:cNvSpPr>
            <a:spLocks noGrp="1"/>
          </p:cNvSpPr>
          <p:nvPr>
            <p:ph type="title" hasCustomPrompt="1"/>
            <p:custDataLst>
              <p:tags r:id="rId3"/>
            </p:custDataLst>
          </p:nvPr>
        </p:nvSpPr>
        <p:spPr>
          <a:xfrm>
            <a:off x="386874" y="962025"/>
            <a:ext cx="3845169"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5095391" y="1512000"/>
            <a:ext cx="6469185"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04623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2" y="1"/>
          <a:ext cx="180999" cy="143985"/>
        </p:xfrm>
        <a:graphic>
          <a:graphicData uri="http://schemas.openxmlformats.org/presentationml/2006/ole">
            <mc:AlternateContent xmlns:mc="http://schemas.openxmlformats.org/markup-compatibility/2006">
              <mc:Choice xmlns:v="urn:schemas-microsoft-com:vml" Requires="v">
                <p:oleObj spid="_x0000_s177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65250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sp>
        <p:nvSpPr>
          <p:cNvPr id="3" name="Content Placeholder 2"/>
          <p:cNvSpPr>
            <a:spLocks noGrp="1"/>
          </p:cNvSpPr>
          <p:nvPr>
            <p:ph idx="1" hasCustomPrompt="1"/>
            <p:custDataLst>
              <p:tags r:id="rId2"/>
            </p:custDataLst>
          </p:nvPr>
        </p:nvSpPr>
        <p:spPr>
          <a:xfrm>
            <a:off x="0" y="1612900"/>
            <a:ext cx="12192000" cy="4525616"/>
          </a:xfrm>
          <a:solidFill>
            <a:schemeClr val="bg1">
              <a:lumMod val="95000"/>
            </a:schemeClr>
          </a:solidFill>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graphicFrame>
        <p:nvGraphicFramePr>
          <p:cNvPr id="4" name="Object 3" hidden="1"/>
          <p:cNvGraphicFramePr>
            <a:graphicFrameLocks noChangeAspect="1"/>
          </p:cNvGraphicFramePr>
          <p:nvPr>
            <p:custDataLst>
              <p:tags r:id="rId3"/>
            </p:custDataLst>
          </p:nvPr>
        </p:nvGraphicFramePr>
        <p:xfrm>
          <a:off x="42" y="1"/>
          <a:ext cx="180999" cy="143985"/>
        </p:xfrm>
        <a:graphic>
          <a:graphicData uri="http://schemas.openxmlformats.org/presentationml/2006/ole">
            <mc:AlternateContent xmlns:mc="http://schemas.openxmlformats.org/markup-compatibility/2006">
              <mc:Choice xmlns:v="urn:schemas-microsoft-com:vml" Requires="v">
                <p:oleObj spid="_x0000_s187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4"/>
            </p:custDataLst>
          </p:nvPr>
        </p:nvSpPr>
        <p:spPr/>
        <p:txBody>
          <a:bodyPr/>
          <a:lstStyle>
            <a:lvl1pPr>
              <a:defRPr/>
            </a:lvl1pPr>
          </a:lstStyle>
          <a:p>
            <a:r>
              <a:rPr lang="en-US" noProof="0" dirty="0"/>
              <a:t>Click to edit Master title style</a:t>
            </a:r>
            <a:endParaRPr lang="en-US" dirty="0"/>
          </a:p>
        </p:txBody>
      </p:sp>
    </p:spTree>
    <p:extLst>
      <p:ext uri="{BB962C8B-B14F-4D97-AF65-F5344CB8AC3E}">
        <p14:creationId xmlns:p14="http://schemas.microsoft.com/office/powerpoint/2010/main" val="300211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79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3"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6"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291504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81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3"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6"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6"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9322848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545059"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545059"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355013"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355013"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545059"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545059" y="437555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355013"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355013" y="437555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642602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183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5901248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2" y="1"/>
          <a:ext cx="180999" cy="143985"/>
        </p:xfrm>
        <a:graphic>
          <a:graphicData uri="http://schemas.openxmlformats.org/presentationml/2006/ole">
            <mc:AlternateContent xmlns:mc="http://schemas.openxmlformats.org/markup-compatibility/2006">
              <mc:Choice xmlns:v="urn:schemas-microsoft-com:vml" Requires="v">
                <p:oleObj spid="_x0000_s228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570992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Break 2">
    <p:spTree>
      <p:nvGrpSpPr>
        <p:cNvPr id="1" name=""/>
        <p:cNvGrpSpPr/>
        <p:nvPr/>
      </p:nvGrpSpPr>
      <p:grpSpPr>
        <a:xfrm>
          <a:off x="0" y="0"/>
          <a:ext cx="0" cy="0"/>
          <a:chOff x="0" y="0"/>
          <a:chExt cx="0" cy="0"/>
        </a:xfrm>
      </p:grpSpPr>
      <p:pic>
        <p:nvPicPr>
          <p:cNvPr id="6" name="Picture 3" descr="D:\Live_2014\ABM\May\20_Total PPT Temp\Total_PPT\Total-Cover-Images-Final-Option.jpg"/>
          <p:cNvPicPr>
            <a:picLocks noChangeAspect="1" noChangeArrowheads="1"/>
          </p:cNvPicPr>
          <p:nvPr userDrawn="1"/>
        </p:nvPicPr>
        <p:blipFill>
          <a:blip r:embed="rId4"/>
          <a:srcRect t="14933" b="167"/>
          <a:stretch>
            <a:fillRect/>
          </a:stretch>
        </p:blipFill>
        <p:spPr bwMode="auto">
          <a:xfrm>
            <a:off x="1" y="19050"/>
            <a:ext cx="12192000" cy="6838950"/>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38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520" y="0"/>
            <a:ext cx="1219511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base">
              <a:spcBef>
                <a:spcPct val="0"/>
              </a:spcBef>
              <a:spcAft>
                <a:spcPct val="0"/>
              </a:spcAft>
            </a:pPr>
            <a:endParaRPr lang="en-US" sz="1000">
              <a:solidFill>
                <a:prstClr val="white"/>
              </a:solidFill>
              <a:cs typeface="Arial"/>
            </a:endParaRPr>
          </a:p>
        </p:txBody>
      </p:sp>
      <p:sp>
        <p:nvSpPr>
          <p:cNvPr id="2" name="Titre 1"/>
          <p:cNvSpPr>
            <a:spLocks noGrp="1"/>
          </p:cNvSpPr>
          <p:nvPr>
            <p:ph type="title" hasCustomPrompt="1"/>
          </p:nvPr>
        </p:nvSpPr>
        <p:spPr>
          <a:xfrm>
            <a:off x="4" y="832190"/>
            <a:ext cx="12098216"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11500588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5" y="3"/>
          <a:ext cx="180999" cy="143985"/>
        </p:xfrm>
        <a:graphic>
          <a:graphicData uri="http://schemas.openxmlformats.org/presentationml/2006/ole">
            <mc:AlternateContent xmlns:mc="http://schemas.openxmlformats.org/markup-compatibility/2006">
              <mc:Choice xmlns:v="urn:schemas-microsoft-com:vml" Requires="v">
                <p:oleObj spid="_x0000_s249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420121" y="1309688"/>
            <a:ext cx="11351847" cy="4957762"/>
          </a:xfrm>
        </p:spPr>
        <p:txBody>
          <a:bodyPr/>
          <a:lstStyle>
            <a:lvl1pPr>
              <a:defRPr b="0"/>
            </a:lvl1pPr>
            <a:lvl2pPr marL="457083" indent="-228541">
              <a:defRPr/>
            </a:lvl2pPr>
            <a:lvl3pPr marL="685623" indent="-228541">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37854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54371846"/>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17532434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01815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496886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204134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1222810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9526881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3904236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656241403"/>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944842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59333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6516288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8462431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3429816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48126172"/>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08536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4450379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86439481"/>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7569587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757197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281457005"/>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138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2"/>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Title 1"/>
          <p:cNvSpPr>
            <a:spLocks noGrp="1"/>
          </p:cNvSpPr>
          <p:nvPr>
            <p:ph type="ctrTitle" hasCustomPrompt="1"/>
          </p:nvPr>
        </p:nvSpPr>
        <p:spPr>
          <a:xfrm>
            <a:off x="407989"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2976182"/>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9"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20" name="Freeform 11"/>
          <p:cNvSpPr>
            <a:spLocks/>
          </p:cNvSpPr>
          <p:nvPr userDrawn="1"/>
        </p:nvSpPr>
        <p:spPr bwMode="auto">
          <a:xfrm>
            <a:off x="6931233" y="4071506"/>
            <a:ext cx="582745" cy="47366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21" name="Freeform 15"/>
          <p:cNvSpPr>
            <a:spLocks/>
          </p:cNvSpPr>
          <p:nvPr userDrawn="1"/>
        </p:nvSpPr>
        <p:spPr bwMode="auto">
          <a:xfrm>
            <a:off x="6629400" y="3727836"/>
            <a:ext cx="884578" cy="750098"/>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Tree>
    <p:extLst>
      <p:ext uri="{BB962C8B-B14F-4D97-AF65-F5344CB8AC3E}">
        <p14:creationId xmlns:p14="http://schemas.microsoft.com/office/powerpoint/2010/main" val="4266559576"/>
      </p:ext>
    </p:extLst>
  </p:cSld>
  <p:clrMapOvr>
    <a:masterClrMapping/>
  </p:clrMapOvr>
  <p:extLst mod="1">
    <p:ext uri="{DCECCB84-F9BA-43D5-87BE-67443E8EF086}">
      <p15:sldGuideLst xmlns=""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eaLnBrk="1"/>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2"/>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
        <p:nvSpPr>
          <p:cNvPr id="14" name="Rectangle 13"/>
          <p:cNvSpPr/>
          <p:nvPr userDrawn="1"/>
        </p:nvSpPr>
        <p:spPr>
          <a:xfrm>
            <a:off x="6536185"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3" y="2507082"/>
            <a:ext cx="2219961"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3" y="4235826"/>
            <a:ext cx="2057401"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8"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5"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2"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8"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1"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1" y="3812094"/>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6" name="Rectangle 25">
            <a:hlinkClick r:id="rId13"/>
          </p:cNvPr>
          <p:cNvSpPr/>
          <p:nvPr userDrawn="1"/>
        </p:nvSpPr>
        <p:spPr>
          <a:xfrm>
            <a:off x="10730866"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2775083409"/>
      </p:ext>
    </p:extLst>
  </p:cSld>
  <p:clrMapOvr>
    <a:masterClrMapping/>
  </p:clrMapOvr>
  <p:extLst mod="1">
    <p:ext uri="{DCECCB84-F9BA-43D5-87BE-67443E8EF086}">
      <p15:sldGuideLst xmlns=""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image" Target="../media/image4.sv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2.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4.svg"/><Relationship Id="rId5" Type="http://schemas.openxmlformats.org/officeDocument/2006/relationships/slideLayout" Target="../slideLayouts/slideLayout35.xml"/><Relationship Id="rId10" Type="http://schemas.openxmlformats.org/officeDocument/2006/relationships/image" Target="../media/image2.pn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41.xml"/><Relationship Id="rId21" Type="http://schemas.openxmlformats.org/officeDocument/2006/relationships/tags" Target="../tags/tag8.xml"/><Relationship Id="rId7" Type="http://schemas.openxmlformats.org/officeDocument/2006/relationships/slideLayout" Target="../slideLayouts/slideLayout45.xml"/><Relationship Id="rId12" Type="http://schemas.openxmlformats.org/officeDocument/2006/relationships/theme" Target="../theme/theme5.xml"/><Relationship Id="rId17" Type="http://schemas.openxmlformats.org/officeDocument/2006/relationships/tags" Target="../tags/tag4.xml"/><Relationship Id="rId2" Type="http://schemas.openxmlformats.org/officeDocument/2006/relationships/slideLayout" Target="../slideLayouts/slideLayout40.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24.jpeg"/><Relationship Id="rId5" Type="http://schemas.openxmlformats.org/officeDocument/2006/relationships/slideLayout" Target="../slideLayouts/slideLayout43.xml"/><Relationship Id="rId15" Type="http://schemas.openxmlformats.org/officeDocument/2006/relationships/tags" Target="../tags/tag2.xml"/><Relationship Id="rId23" Type="http://schemas.openxmlformats.org/officeDocument/2006/relationships/image" Target="../media/image23.emf"/><Relationship Id="rId10" Type="http://schemas.openxmlformats.org/officeDocument/2006/relationships/slideLayout" Target="../slideLayouts/slideLayout48.xml"/><Relationship Id="rId19" Type="http://schemas.openxmlformats.org/officeDocument/2006/relationships/tags" Target="../tags/tag6.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image" Target="../media/image4.svg"/><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2.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6.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3">
            <a:extLst>
              <a:ext uri="{96DAC541-7B7A-43D3-8B79-37D633B846F1}">
                <asvg:svgBlip xmlns="" xmlns:asvg="http://schemas.microsoft.com/office/drawing/2016/SVG/main" r:embed="rId2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4671"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43" y="0"/>
            <a:ext cx="12191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6"/>
            </p:custDataLst>
          </p:nvPr>
        </p:nvSpPr>
        <p:spPr>
          <a:xfrm>
            <a:off x="398064" y="1501977"/>
            <a:ext cx="11616153"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11788178"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smtClean="0">
                <a:solidFill>
                  <a:srgbClr val="9F958F"/>
                </a:solidFill>
                <a:cs typeface="Arial" charset="0"/>
              </a:rPr>
              <a:pPr algn="ctr" defTabSz="957756"/>
              <a:t>‹#›</a:t>
            </a:fld>
            <a:endParaRPr lang="en-US" sz="700">
              <a:solidFill>
                <a:srgbClr val="9F958F"/>
              </a:solidFill>
              <a:cs typeface="Arial" charset="0"/>
            </a:endParaRPr>
          </a:p>
        </p:txBody>
      </p:sp>
      <p:sp>
        <p:nvSpPr>
          <p:cNvPr id="9" name="Freeform 4"/>
          <p:cNvSpPr>
            <a:spLocks/>
          </p:cNvSpPr>
          <p:nvPr>
            <p:custDataLst>
              <p:tags r:id="rId18"/>
            </p:custDataLst>
          </p:nvPr>
        </p:nvSpPr>
        <p:spPr bwMode="auto">
          <a:xfrm>
            <a:off x="4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00264A"/>
              </a:solidFill>
              <a:cs typeface="Arial" charset="0"/>
            </a:endParaRPr>
          </a:p>
        </p:txBody>
      </p:sp>
      <p:sp>
        <p:nvSpPr>
          <p:cNvPr id="12" name="Rectangle 11"/>
          <p:cNvSpPr>
            <a:spLocks noChangeArrowheads="1"/>
          </p:cNvSpPr>
          <p:nvPr>
            <p:custDataLst>
              <p:tags r:id="rId19"/>
            </p:custDataLst>
          </p:nvPr>
        </p:nvSpPr>
        <p:spPr bwMode="auto">
          <a:xfrm>
            <a:off x="8297643" y="6623467"/>
            <a:ext cx="327463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a:solidFill>
                  <a:srgbClr val="9F958F"/>
                </a:solidFill>
                <a:cs typeface="Helvetica Light"/>
              </a:rPr>
              <a:t>Copyright © Capgemini 2015. All Rights Reserved</a:t>
            </a:r>
          </a:p>
        </p:txBody>
      </p:sp>
      <p:sp>
        <p:nvSpPr>
          <p:cNvPr id="13" name="Rectangle 12"/>
          <p:cNvSpPr/>
          <p:nvPr>
            <p:custDataLst>
              <p:tags r:id="rId20"/>
            </p:custDataLst>
          </p:nvPr>
        </p:nvSpPr>
        <p:spPr>
          <a:xfrm>
            <a:off x="9215910" y="6427223"/>
            <a:ext cx="2356375" cy="195814"/>
          </a:xfrm>
          <a:prstGeom prst="rect">
            <a:avLst/>
          </a:prstGeom>
        </p:spPr>
        <p:txBody>
          <a:bodyPr wrap="none" lIns="35997" tIns="35997" rIns="35997" bIns="35997" anchor="b" anchorCtr="0">
            <a:noAutofit/>
          </a:bodyPr>
          <a:lstStyle/>
          <a:p>
            <a:pPr algn="r" defTabSz="957532">
              <a:defRPr/>
            </a:pPr>
            <a:r>
              <a:rPr lang="en-US" sz="700">
                <a:solidFill>
                  <a:srgbClr val="2E2E2E"/>
                </a:solidFill>
                <a:cs typeface="Arial" charset="0"/>
              </a:rPr>
              <a:t>Predix Practice @ Capgemini | November 2016</a:t>
            </a:r>
          </a:p>
        </p:txBody>
      </p:sp>
      <p:cxnSp>
        <p:nvCxnSpPr>
          <p:cNvPr id="15" name="Straight Connector 5"/>
          <p:cNvCxnSpPr/>
          <p:nvPr>
            <p:custDataLst>
              <p:tags r:id="rId21"/>
            </p:custDataLst>
          </p:nvPr>
        </p:nvCxnSpPr>
        <p:spPr>
          <a:xfrm flipH="1">
            <a:off x="44"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360617" y="6439028"/>
            <a:ext cx="1917469" cy="344978"/>
          </a:xfrm>
          <a:prstGeom prst="rect">
            <a:avLst/>
          </a:prstGeom>
          <a:noFill/>
          <a:ln>
            <a:noFill/>
          </a:ln>
        </p:spPr>
      </p:pic>
    </p:spTree>
    <p:extLst>
      <p:ext uri="{BB962C8B-B14F-4D97-AF65-F5344CB8AC3E}">
        <p14:creationId xmlns:p14="http://schemas.microsoft.com/office/powerpoint/2010/main" val="152924986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5" r:id="rId11"/>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D5F0FF"/>
            </a:gs>
            <a:gs pos="39999">
              <a:srgbClr val="D5F0FF"/>
            </a:gs>
            <a:gs pos="73000">
              <a:srgbClr val="D5F0FF"/>
            </a:gs>
            <a:gs pos="100000">
              <a:schemeClr val="bg1"/>
            </a:gs>
          </a:gsLst>
          <a:lin ang="5400000" scaled="0"/>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5">
            <a:extLst>
              <a:ext uri="{96DAC541-7B7A-43D3-8B79-37D633B846F1}">
                <asvg:svgBlip xmlns=""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Capgemini Blue</a:t>
            </a:r>
          </a:p>
          <a:p>
            <a:pPr marL="171450"/>
            <a:r>
              <a:rPr lang="en-US" sz="600">
                <a:solidFill>
                  <a:prstClr val="white"/>
                </a:solidFill>
              </a:rPr>
              <a:t>R 0</a:t>
            </a:r>
          </a:p>
          <a:p>
            <a:pPr marL="171450"/>
            <a:r>
              <a:rPr lang="en-US" sz="600">
                <a:solidFill>
                  <a:prstClr val="white"/>
                </a:solidFill>
              </a:rPr>
              <a:t>G 112</a:t>
            </a:r>
          </a:p>
          <a:p>
            <a:pPr marL="171450"/>
            <a:r>
              <a:rPr lang="en-US" sz="60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Vibrant</a:t>
            </a:r>
            <a:br>
              <a:rPr lang="en-US" sz="600" b="1">
                <a:solidFill>
                  <a:prstClr val="white"/>
                </a:solidFill>
              </a:rPr>
            </a:br>
            <a:r>
              <a:rPr lang="en-US" sz="600" b="1">
                <a:solidFill>
                  <a:prstClr val="white"/>
                </a:solidFill>
              </a:rPr>
              <a:t>Blue</a:t>
            </a:r>
          </a:p>
          <a:p>
            <a:pPr marL="171450"/>
            <a:r>
              <a:rPr lang="en-US" sz="600">
                <a:solidFill>
                  <a:prstClr val="white"/>
                </a:solidFill>
              </a:rPr>
              <a:t>R 18</a:t>
            </a:r>
          </a:p>
          <a:p>
            <a:pPr marL="171450"/>
            <a:r>
              <a:rPr lang="en-US" sz="600">
                <a:solidFill>
                  <a:prstClr val="white"/>
                </a:solidFill>
              </a:rPr>
              <a:t>G 171</a:t>
            </a:r>
          </a:p>
          <a:p>
            <a:pPr marL="171450"/>
            <a:r>
              <a:rPr lang="en-US" sz="600">
                <a:solidFill>
                  <a:prstClr val="white"/>
                </a:solidFill>
              </a:rPr>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Deep</a:t>
            </a:r>
            <a:br>
              <a:rPr lang="en-US" sz="600" b="1">
                <a:solidFill>
                  <a:prstClr val="white"/>
                </a:solidFill>
              </a:rPr>
            </a:br>
            <a:r>
              <a:rPr lang="en-US" sz="600" b="1">
                <a:solidFill>
                  <a:prstClr val="white"/>
                </a:solidFill>
              </a:rPr>
              <a:t>Purple</a:t>
            </a:r>
          </a:p>
          <a:p>
            <a:pPr marL="171450"/>
            <a:r>
              <a:rPr lang="en-US" sz="600">
                <a:solidFill>
                  <a:prstClr val="white"/>
                </a:solidFill>
              </a:rPr>
              <a:t>R 43</a:t>
            </a:r>
          </a:p>
          <a:p>
            <a:pPr marL="171450"/>
            <a:r>
              <a:rPr lang="en-US" sz="600">
                <a:solidFill>
                  <a:prstClr val="white"/>
                </a:solidFill>
              </a:rPr>
              <a:t>G 10</a:t>
            </a:r>
          </a:p>
          <a:p>
            <a:pPr marL="171450"/>
            <a:r>
              <a:rPr lang="en-US" sz="600">
                <a:solidFill>
                  <a:prstClr val="white"/>
                </a:solidFill>
              </a:rPr>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Tech</a:t>
            </a:r>
            <a:br>
              <a:rPr lang="en-US" sz="600" b="1">
                <a:solidFill>
                  <a:prstClr val="white"/>
                </a:solidFill>
              </a:rPr>
            </a:br>
            <a:r>
              <a:rPr lang="en-US" sz="600" b="1">
                <a:solidFill>
                  <a:prstClr val="white"/>
                </a:solidFill>
              </a:rPr>
              <a:t>Red</a:t>
            </a:r>
          </a:p>
          <a:p>
            <a:pPr marL="171450"/>
            <a:r>
              <a:rPr lang="en-US" sz="600">
                <a:solidFill>
                  <a:prstClr val="white"/>
                </a:solidFill>
              </a:rPr>
              <a:t>R 255</a:t>
            </a:r>
          </a:p>
          <a:p>
            <a:pPr marL="171450"/>
            <a:r>
              <a:rPr lang="en-US" sz="600">
                <a:solidFill>
                  <a:prstClr val="white"/>
                </a:solidFill>
              </a:rPr>
              <a:t>G 48</a:t>
            </a:r>
          </a:p>
          <a:p>
            <a:pPr marL="171450"/>
            <a:r>
              <a:rPr lang="en-US" sz="600">
                <a:solidFill>
                  <a:prstClr val="white"/>
                </a:solidFill>
              </a:rPr>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Zest</a:t>
            </a:r>
            <a:br>
              <a:rPr lang="en-US" sz="600" b="1">
                <a:solidFill>
                  <a:prstClr val="white"/>
                </a:solidFill>
              </a:rPr>
            </a:br>
            <a:r>
              <a:rPr lang="en-US" sz="600" b="1">
                <a:solidFill>
                  <a:prstClr val="white"/>
                </a:solidFill>
              </a:rPr>
              <a:t>Green</a:t>
            </a:r>
          </a:p>
          <a:p>
            <a:pPr marL="171450"/>
            <a:r>
              <a:rPr lang="en-US" sz="600">
                <a:solidFill>
                  <a:prstClr val="white"/>
                </a:solidFill>
              </a:rPr>
              <a:t>R 149</a:t>
            </a:r>
          </a:p>
          <a:p>
            <a:pPr marL="171450"/>
            <a:r>
              <a:rPr lang="en-US" sz="600">
                <a:solidFill>
                  <a:prstClr val="white"/>
                </a:solidFill>
              </a:rPr>
              <a:t>G 230</a:t>
            </a:r>
          </a:p>
          <a:p>
            <a:pPr marL="171450"/>
            <a:r>
              <a:rPr lang="en-US" sz="600">
                <a:solidFill>
                  <a:prstClr val="white"/>
                </a:solidFill>
              </a:rPr>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solidFill>
                  <a:prstClr val="white"/>
                </a:solidFill>
              </a:rPr>
              <a:t>Capgemini Blue</a:t>
            </a:r>
            <a:r>
              <a:rPr lang="en-US" sz="600">
                <a:solidFill>
                  <a:prstClr val="white"/>
                </a:solidFill>
              </a:rPr>
              <a:t> (-50%)</a:t>
            </a:r>
          </a:p>
          <a:p>
            <a:pPr marL="171450"/>
            <a:r>
              <a:rPr lang="en-US" sz="600">
                <a:solidFill>
                  <a:prstClr val="white"/>
                </a:solidFill>
              </a:rPr>
              <a:t>R 128</a:t>
            </a:r>
          </a:p>
          <a:p>
            <a:pPr marL="171450"/>
            <a:r>
              <a:rPr lang="en-US" sz="600">
                <a:solidFill>
                  <a:prstClr val="white"/>
                </a:solidFill>
              </a:rPr>
              <a:t>G 184</a:t>
            </a:r>
          </a:p>
          <a:p>
            <a:pPr marL="171450"/>
            <a:r>
              <a:rPr lang="en-US" sz="600">
                <a:solidFill>
                  <a:prstClr val="white"/>
                </a:solidFill>
              </a:rPr>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solidFill>
                  <a:prstClr val="white"/>
                </a:solidFill>
              </a:rPr>
              <a:t>Vibrant</a:t>
            </a:r>
            <a:br>
              <a:rPr lang="en-US" sz="600" b="1">
                <a:solidFill>
                  <a:prstClr val="white"/>
                </a:solidFill>
              </a:rPr>
            </a:br>
            <a:r>
              <a:rPr lang="en-US" sz="600" b="1">
                <a:solidFill>
                  <a:prstClr val="white"/>
                </a:solidFill>
              </a:rPr>
              <a:t>Blue</a:t>
            </a:r>
            <a:r>
              <a:rPr lang="en-US" sz="600">
                <a:solidFill>
                  <a:prstClr val="white"/>
                </a:solidFill>
              </a:rPr>
              <a:t> (-50%)</a:t>
            </a:r>
          </a:p>
          <a:p>
            <a:pPr marL="171450"/>
            <a:r>
              <a:rPr lang="en-US" sz="600">
                <a:solidFill>
                  <a:prstClr val="white"/>
                </a:solidFill>
              </a:rPr>
              <a:t>R 136</a:t>
            </a:r>
          </a:p>
          <a:p>
            <a:pPr marL="171450"/>
            <a:r>
              <a:rPr lang="en-US" sz="600">
                <a:solidFill>
                  <a:prstClr val="white"/>
                </a:solidFill>
              </a:rPr>
              <a:t>G 213</a:t>
            </a:r>
          </a:p>
          <a:p>
            <a:pPr marL="171450"/>
            <a:r>
              <a:rPr lang="en-US" sz="600">
                <a:solidFill>
                  <a:prstClr val="white"/>
                </a:solidFill>
              </a:rPr>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Bright</a:t>
            </a:r>
            <a:br>
              <a:rPr lang="en-US" sz="600" b="1">
                <a:solidFill>
                  <a:prstClr val="white"/>
                </a:solidFill>
              </a:rPr>
            </a:br>
            <a:r>
              <a:rPr lang="en-US" sz="600" b="1">
                <a:solidFill>
                  <a:prstClr val="white"/>
                </a:solidFill>
              </a:rPr>
              <a:t>Purple</a:t>
            </a:r>
          </a:p>
          <a:p>
            <a:pPr marL="171450"/>
            <a:r>
              <a:rPr lang="en-US" sz="600">
                <a:solidFill>
                  <a:prstClr val="white"/>
                </a:solidFill>
              </a:rPr>
              <a:t>R 109</a:t>
            </a:r>
          </a:p>
          <a:p>
            <a:pPr marL="171450"/>
            <a:r>
              <a:rPr lang="en-US" sz="600">
                <a:solidFill>
                  <a:prstClr val="white"/>
                </a:solidFill>
              </a:rPr>
              <a:t>G 100</a:t>
            </a:r>
          </a:p>
          <a:p>
            <a:pPr marL="171450"/>
            <a:r>
              <a:rPr lang="en-US" sz="600">
                <a:solidFill>
                  <a:prstClr val="white"/>
                </a:solidFill>
              </a:rPr>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Orange</a:t>
            </a:r>
          </a:p>
          <a:p>
            <a:pPr marL="171450"/>
            <a:r>
              <a:rPr lang="en-US" sz="600">
                <a:solidFill>
                  <a:prstClr val="white"/>
                </a:solidFill>
              </a:rPr>
              <a:t>R 255</a:t>
            </a:r>
          </a:p>
          <a:p>
            <a:pPr marL="171450"/>
            <a:r>
              <a:rPr lang="en-US" sz="600">
                <a:solidFill>
                  <a:prstClr val="white"/>
                </a:solidFill>
              </a:rPr>
              <a:t>G 99</a:t>
            </a:r>
          </a:p>
          <a:p>
            <a:pPr marL="171450"/>
            <a:r>
              <a:rPr lang="en-US" sz="600">
                <a:solidFill>
                  <a:prstClr val="white"/>
                </a:solidFill>
              </a:rPr>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Bright</a:t>
            </a:r>
            <a:br>
              <a:rPr lang="en-US" sz="600" b="1">
                <a:solidFill>
                  <a:prstClr val="white"/>
                </a:solidFill>
              </a:rPr>
            </a:br>
            <a:r>
              <a:rPr lang="en-US" sz="600" b="1">
                <a:solidFill>
                  <a:prstClr val="white"/>
                </a:solidFill>
              </a:rPr>
              <a:t>Green</a:t>
            </a:r>
          </a:p>
          <a:p>
            <a:pPr marL="171450"/>
            <a:r>
              <a:rPr lang="en-US" sz="600">
                <a:solidFill>
                  <a:prstClr val="white"/>
                </a:solidFill>
              </a:rPr>
              <a:t>R 200</a:t>
            </a:r>
          </a:p>
          <a:p>
            <a:pPr marL="171450"/>
            <a:r>
              <a:rPr lang="en-US" sz="600">
                <a:solidFill>
                  <a:prstClr val="white"/>
                </a:solidFill>
              </a:rPr>
              <a:t>G 255</a:t>
            </a:r>
          </a:p>
          <a:p>
            <a:pPr marL="171450"/>
            <a:r>
              <a:rPr lang="en-US" sz="600">
                <a:solidFill>
                  <a:prstClr val="white"/>
                </a:solidFill>
              </a:rPr>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Purple</a:t>
            </a:r>
          </a:p>
          <a:p>
            <a:pPr marL="171450"/>
            <a:r>
              <a:rPr lang="en-US" sz="600">
                <a:solidFill>
                  <a:prstClr val="white"/>
                </a:solidFill>
              </a:rPr>
              <a:t>R 126</a:t>
            </a:r>
          </a:p>
          <a:p>
            <a:pPr marL="171450"/>
            <a:r>
              <a:rPr lang="en-US" sz="600">
                <a:solidFill>
                  <a:prstClr val="white"/>
                </a:solidFill>
              </a:rPr>
              <a:t>G 57</a:t>
            </a:r>
          </a:p>
          <a:p>
            <a:pPr marL="171450"/>
            <a:r>
              <a:rPr lang="en-US" sz="600">
                <a:solidFill>
                  <a:prstClr val="white"/>
                </a:solidFill>
              </a:rPr>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Green</a:t>
            </a:r>
          </a:p>
          <a:p>
            <a:pPr marL="171450"/>
            <a:r>
              <a:rPr lang="en-US" sz="600">
                <a:solidFill>
                  <a:prstClr val="white"/>
                </a:solidFill>
              </a:rPr>
              <a:t>R 0</a:t>
            </a:r>
          </a:p>
          <a:p>
            <a:pPr marL="171450"/>
            <a:r>
              <a:rPr lang="en-US" sz="600">
                <a:solidFill>
                  <a:prstClr val="white"/>
                </a:solidFill>
              </a:rPr>
              <a:t>G 195</a:t>
            </a:r>
          </a:p>
          <a:p>
            <a:pPr marL="171450"/>
            <a:r>
              <a:rPr lang="en-US" sz="600">
                <a:solidFill>
                  <a:prstClr val="white"/>
                </a:solidFill>
              </a:rPr>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Dark</a:t>
            </a:r>
            <a:br>
              <a:rPr lang="en-US" sz="600" b="1">
                <a:solidFill>
                  <a:prstClr val="white"/>
                </a:solidFill>
              </a:rPr>
            </a:br>
            <a:r>
              <a:rPr lang="en-US" sz="600" b="1">
                <a:solidFill>
                  <a:prstClr val="white"/>
                </a:solidFill>
              </a:rPr>
              <a:t>Green</a:t>
            </a:r>
          </a:p>
          <a:p>
            <a:pPr marL="171450"/>
            <a:r>
              <a:rPr lang="en-US" sz="600">
                <a:solidFill>
                  <a:prstClr val="white"/>
                </a:solidFill>
              </a:rPr>
              <a:t>R 21</a:t>
            </a:r>
          </a:p>
          <a:p>
            <a:pPr marL="171450"/>
            <a:r>
              <a:rPr lang="en-US" sz="600">
                <a:solidFill>
                  <a:prstClr val="white"/>
                </a:solidFill>
              </a:rPr>
              <a:t>G 99</a:t>
            </a:r>
          </a:p>
          <a:p>
            <a:pPr marL="171450"/>
            <a:r>
              <a:rPr lang="en-US" sz="600">
                <a:solidFill>
                  <a:prstClr val="white"/>
                </a:solidFill>
              </a:rPr>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Aqua</a:t>
            </a:r>
          </a:p>
          <a:p>
            <a:pPr marL="171450"/>
            <a:r>
              <a:rPr lang="en-US" sz="600">
                <a:solidFill>
                  <a:prstClr val="white"/>
                </a:solidFill>
              </a:rPr>
              <a:t>R 15</a:t>
            </a:r>
          </a:p>
          <a:p>
            <a:pPr marL="171450"/>
            <a:r>
              <a:rPr lang="en-US" sz="600">
                <a:solidFill>
                  <a:prstClr val="white"/>
                </a:solidFill>
              </a:rPr>
              <a:t>G 153</a:t>
            </a:r>
          </a:p>
          <a:p>
            <a:pPr marL="171450"/>
            <a:r>
              <a:rPr lang="en-US" sz="600">
                <a:solidFill>
                  <a:prstClr val="white"/>
                </a:solidFill>
              </a:rPr>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Bright</a:t>
            </a:r>
            <a:br>
              <a:rPr lang="en-US" sz="600" b="1">
                <a:solidFill>
                  <a:prstClr val="white"/>
                </a:solidFill>
              </a:rPr>
            </a:br>
            <a:r>
              <a:rPr lang="en-US" sz="600" b="1">
                <a:solidFill>
                  <a:prstClr val="white"/>
                </a:solidFill>
              </a:rPr>
              <a:t>Aqua</a:t>
            </a:r>
          </a:p>
          <a:p>
            <a:pPr marL="171450"/>
            <a:r>
              <a:rPr lang="en-US" sz="600">
                <a:solidFill>
                  <a:prstClr val="white"/>
                </a:solidFill>
              </a:rPr>
              <a:t>R 1</a:t>
            </a:r>
          </a:p>
          <a:p>
            <a:pPr marL="171450"/>
            <a:r>
              <a:rPr lang="en-US" sz="600">
                <a:solidFill>
                  <a:prstClr val="white"/>
                </a:solidFill>
              </a:rPr>
              <a:t>G 209</a:t>
            </a:r>
          </a:p>
          <a:p>
            <a:pPr marL="171450"/>
            <a:r>
              <a:rPr lang="en-US" sz="600">
                <a:solidFill>
                  <a:prstClr val="white"/>
                </a:solidFill>
              </a:rPr>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Peach</a:t>
            </a:r>
          </a:p>
          <a:p>
            <a:pPr marL="171450"/>
            <a:r>
              <a:rPr lang="en-US" sz="600">
                <a:solidFill>
                  <a:prstClr val="white"/>
                </a:solidFill>
              </a:rPr>
              <a:t>R 255</a:t>
            </a:r>
          </a:p>
          <a:p>
            <a:pPr marL="171450"/>
            <a:r>
              <a:rPr lang="en-US" sz="600">
                <a:solidFill>
                  <a:prstClr val="white"/>
                </a:solidFill>
              </a:rPr>
              <a:t>G 126</a:t>
            </a:r>
          </a:p>
          <a:p>
            <a:pPr marL="171450"/>
            <a:r>
              <a:rPr lang="en-US" sz="60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Light</a:t>
            </a:r>
            <a:br>
              <a:rPr lang="en-US" sz="600" b="1">
                <a:solidFill>
                  <a:prstClr val="white"/>
                </a:solidFill>
              </a:rPr>
            </a:br>
            <a:r>
              <a:rPr lang="en-US" sz="600" b="1">
                <a:solidFill>
                  <a:prstClr val="white"/>
                </a:solidFill>
              </a:rPr>
              <a:t>Claret</a:t>
            </a:r>
          </a:p>
          <a:p>
            <a:pPr marL="171450"/>
            <a:r>
              <a:rPr lang="en-US" sz="600">
                <a:solidFill>
                  <a:prstClr val="white"/>
                </a:solidFill>
              </a:rPr>
              <a:t>R 203</a:t>
            </a:r>
          </a:p>
          <a:p>
            <a:pPr marL="171450"/>
            <a:r>
              <a:rPr lang="en-US" sz="600">
                <a:solidFill>
                  <a:prstClr val="white"/>
                </a:solidFill>
              </a:rPr>
              <a:t>G 41</a:t>
            </a:r>
          </a:p>
          <a:p>
            <a:pPr marL="171450"/>
            <a:r>
              <a:rPr lang="en-US" sz="600">
                <a:solidFill>
                  <a:prstClr val="white"/>
                </a:solidFill>
              </a:rPr>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Claret</a:t>
            </a:r>
          </a:p>
          <a:p>
            <a:pPr marL="171450"/>
            <a:r>
              <a:rPr lang="en-US" sz="600">
                <a:solidFill>
                  <a:prstClr val="white"/>
                </a:solidFill>
              </a:rPr>
              <a:t>R 134</a:t>
            </a:r>
          </a:p>
          <a:p>
            <a:pPr marL="171450"/>
            <a:r>
              <a:rPr lang="en-US" sz="600">
                <a:solidFill>
                  <a:prstClr val="white"/>
                </a:solidFill>
              </a:rPr>
              <a:t>G 8</a:t>
            </a:r>
          </a:p>
          <a:p>
            <a:pPr marL="171450"/>
            <a:r>
              <a:rPr lang="en-US" sz="600">
                <a:solidFill>
                  <a:prstClr val="white"/>
                </a:solidFill>
              </a:rPr>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solidFill>
                  <a:prstClr val="white"/>
                </a:solidFill>
              </a:rPr>
              <a:t>Dark</a:t>
            </a:r>
            <a:br>
              <a:rPr lang="en-US" sz="600" b="1">
                <a:solidFill>
                  <a:prstClr val="white"/>
                </a:solidFill>
              </a:rPr>
            </a:br>
            <a:r>
              <a:rPr lang="en-US" sz="600" b="1">
                <a:solidFill>
                  <a:prstClr val="white"/>
                </a:solidFill>
              </a:rPr>
              <a:t>Purple</a:t>
            </a:r>
          </a:p>
          <a:p>
            <a:pPr marL="171450"/>
            <a:r>
              <a:rPr lang="en-US" sz="600">
                <a:solidFill>
                  <a:prstClr val="white"/>
                </a:solidFill>
              </a:rPr>
              <a:t>R 71</a:t>
            </a:r>
          </a:p>
          <a:p>
            <a:pPr marL="171450"/>
            <a:r>
              <a:rPr lang="en-US" sz="600">
                <a:solidFill>
                  <a:prstClr val="white"/>
                </a:solidFill>
              </a:rPr>
              <a:t>G 1</a:t>
            </a:r>
          </a:p>
          <a:p>
            <a:pPr marL="171450"/>
            <a:r>
              <a:rPr lang="en-US" sz="600">
                <a:solidFill>
                  <a:prstClr val="white"/>
                </a:solidFill>
              </a:rPr>
              <a:t>B 167</a:t>
            </a:r>
          </a:p>
        </p:txBody>
      </p:sp>
    </p:spTree>
    <p:extLst>
      <p:ext uri="{BB962C8B-B14F-4D97-AF65-F5344CB8AC3E}">
        <p14:creationId xmlns:p14="http://schemas.microsoft.com/office/powerpoint/2010/main" val="122519284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2" r:id="rId22"/>
    <p:sldLayoutId id="2147483853"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5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nSpc>
                <a:spcPct val="100000"/>
              </a:lnSpc>
            </a:pPr>
            <a:r>
              <a:rPr lang="en-US" sz="4400" dirty="0"/>
              <a:t>Digital Factory Operating </a:t>
            </a:r>
            <a:r>
              <a:rPr lang="en-US" sz="4400" dirty="0" smtClean="0"/>
              <a:t>System</a:t>
            </a:r>
            <a:r>
              <a:rPr lang="en-US" sz="5400" dirty="0" smtClean="0"/>
              <a:t> </a:t>
            </a:r>
            <a:endParaRPr lang="en-US" sz="5400" dirty="0"/>
          </a:p>
        </p:txBody>
      </p:sp>
      <p:sp>
        <p:nvSpPr>
          <p:cNvPr id="5" name="Subtitle 4"/>
          <p:cNvSpPr>
            <a:spLocks noGrp="1"/>
          </p:cNvSpPr>
          <p:nvPr>
            <p:ph type="subTitle" idx="1"/>
          </p:nvPr>
        </p:nvSpPr>
        <p:spPr>
          <a:xfrm>
            <a:off x="7112943" y="6400800"/>
            <a:ext cx="4774257" cy="1223963"/>
          </a:xfrm>
        </p:spPr>
        <p:txBody>
          <a:bodyPr/>
          <a:lstStyle/>
          <a:p>
            <a:r>
              <a:rPr lang="en-US" dirty="0"/>
              <a:t>Nov 2018</a:t>
            </a:r>
          </a:p>
        </p:txBody>
      </p:sp>
      <p:sp>
        <p:nvSpPr>
          <p:cNvPr id="6" name="Title 3"/>
          <p:cNvSpPr txBox="1">
            <a:spLocks/>
          </p:cNvSpPr>
          <p:nvPr/>
        </p:nvSpPr>
        <p:spPr>
          <a:xfrm>
            <a:off x="7112942" y="4800600"/>
            <a:ext cx="4774258" cy="1475154"/>
          </a:xfrm>
          <a:prstGeom prst="rect">
            <a:avLst/>
          </a:prstGeom>
          <a:noFill/>
          <a:ln w="12700" cap="flat" cmpd="sng" algn="ctr">
            <a:noFill/>
            <a:prstDash val="solid"/>
            <a:miter lim="800000"/>
          </a:ln>
          <a:effectLst/>
        </p:spPr>
        <p:txBody>
          <a:bodyPr vert="horz" lIns="0" tIns="0" rIns="0" bIns="0" rtlCol="0" anchor="b">
            <a:noAutofit/>
          </a:bodyPr>
          <a:lstStyle>
            <a:lvl1pPr algn="l" defTabSz="914400" rtl="0" eaLnBrk="1" latinLnBrk="0" hangingPunct="1">
              <a:lnSpc>
                <a:spcPct val="90000"/>
              </a:lnSpc>
              <a:spcBef>
                <a:spcPct val="0"/>
              </a:spcBef>
              <a:buNone/>
              <a:defRPr lang="en-US" sz="2600" b="0" kern="1200" dirty="0">
                <a:solidFill>
                  <a:schemeClr val="accen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en-US" sz="2400" dirty="0"/>
              <a:t>Mind Benders</a:t>
            </a:r>
          </a:p>
        </p:txBody>
      </p:sp>
    </p:spTree>
    <p:extLst>
      <p:ext uri="{BB962C8B-B14F-4D97-AF65-F5344CB8AC3E}">
        <p14:creationId xmlns:p14="http://schemas.microsoft.com/office/powerpoint/2010/main" val="13628427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accent1">
                    <a:lumMod val="50000"/>
                  </a:schemeClr>
                </a:solidFill>
              </a:rPr>
              <a:t>Business </a:t>
            </a:r>
            <a:r>
              <a:rPr lang="en-US" dirty="0">
                <a:solidFill>
                  <a:schemeClr val="accent1">
                    <a:lumMod val="50000"/>
                  </a:schemeClr>
                </a:solidFill>
              </a:rPr>
              <a:t>Q</a:t>
            </a:r>
            <a:r>
              <a:rPr lang="en-US" dirty="0" smtClean="0">
                <a:solidFill>
                  <a:schemeClr val="accent1">
                    <a:lumMod val="50000"/>
                  </a:schemeClr>
                </a:solidFill>
              </a:rPr>
              <a:t>uantification</a:t>
            </a:r>
            <a:endParaRPr lang="en-US" dirty="0">
              <a:solidFill>
                <a:schemeClr val="accent1">
                  <a:lumMod val="50000"/>
                </a:schemeClr>
              </a:solidFill>
            </a:endParaRPr>
          </a:p>
        </p:txBody>
      </p:sp>
      <p:grpSp>
        <p:nvGrpSpPr>
          <p:cNvPr id="7" name="그룹 296">
            <a:extLst>
              <a:ext uri="{FF2B5EF4-FFF2-40B4-BE49-F238E27FC236}">
                <a16:creationId xmlns="" xmlns:a16="http://schemas.microsoft.com/office/drawing/2014/main" id="{D7F44ED2-A650-4761-8BF0-BCA57FDD9939}"/>
              </a:ext>
            </a:extLst>
          </p:cNvPr>
          <p:cNvGrpSpPr/>
          <p:nvPr/>
        </p:nvGrpSpPr>
        <p:grpSpPr>
          <a:xfrm>
            <a:off x="2377981" y="1020200"/>
            <a:ext cx="9052019" cy="5304400"/>
            <a:chOff x="635000" y="1382713"/>
            <a:chExt cx="7869238" cy="4572000"/>
          </a:xfrm>
          <a:solidFill>
            <a:schemeClr val="bg1">
              <a:lumMod val="85000"/>
            </a:schemeClr>
          </a:solidFill>
        </p:grpSpPr>
        <p:sp>
          <p:nvSpPr>
            <p:cNvPr id="8" name="Freeform 8">
              <a:extLst>
                <a:ext uri="{FF2B5EF4-FFF2-40B4-BE49-F238E27FC236}">
                  <a16:creationId xmlns="" xmlns:a16="http://schemas.microsoft.com/office/drawing/2014/main" id="{C3B3FAD8-64A8-436B-AC4D-186D6781DE00}"/>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9" name="Freeform 9">
              <a:extLst>
                <a:ext uri="{FF2B5EF4-FFF2-40B4-BE49-F238E27FC236}">
                  <a16:creationId xmlns="" xmlns:a16="http://schemas.microsoft.com/office/drawing/2014/main" id="{97B0539C-386C-4D97-BE1E-2DF1955A22E6}"/>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0" name="Freeform 10">
              <a:extLst>
                <a:ext uri="{FF2B5EF4-FFF2-40B4-BE49-F238E27FC236}">
                  <a16:creationId xmlns="" xmlns:a16="http://schemas.microsoft.com/office/drawing/2014/main" id="{D4CB02D9-4AD3-4FA4-A08B-10D28387347A}"/>
                </a:ext>
              </a:extLst>
            </p:cNvPr>
            <p:cNvSpPr>
              <a:spLocks noEditPoints="1"/>
            </p:cNvSpPr>
            <p:nvPr/>
          </p:nvSpPr>
          <p:spPr bwMode="auto">
            <a:xfrm>
              <a:off x="1595438" y="1790700"/>
              <a:ext cx="6908800"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1" name="Freeform 11">
              <a:extLst>
                <a:ext uri="{FF2B5EF4-FFF2-40B4-BE49-F238E27FC236}">
                  <a16:creationId xmlns="" xmlns:a16="http://schemas.microsoft.com/office/drawing/2014/main" id="{39D4B937-FA00-44A1-8767-EF69E54747AF}"/>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grpSp>
      <p:grpSp>
        <p:nvGrpSpPr>
          <p:cNvPr id="32" name="Group 31"/>
          <p:cNvGrpSpPr/>
          <p:nvPr/>
        </p:nvGrpSpPr>
        <p:grpSpPr>
          <a:xfrm>
            <a:off x="3151799" y="1876825"/>
            <a:ext cx="986454" cy="897680"/>
            <a:chOff x="2747346" y="979145"/>
            <a:chExt cx="986454" cy="897680"/>
          </a:xfrm>
        </p:grpSpPr>
        <p:sp>
          <p:nvSpPr>
            <p:cNvPr id="12" name="Oval 11"/>
            <p:cNvSpPr/>
            <p:nvPr/>
          </p:nvSpPr>
          <p:spPr>
            <a:xfrm>
              <a:off x="2747346" y="979145"/>
              <a:ext cx="897680" cy="897680"/>
            </a:xfrm>
            <a:prstGeom prst="ellipse">
              <a:avLst/>
            </a:prstGeom>
            <a:solidFill>
              <a:schemeClr val="accent2">
                <a:lumMod val="75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ko-KR" altLang="en-US"/>
            </a:p>
          </p:txBody>
        </p:sp>
        <p:sp>
          <p:nvSpPr>
            <p:cNvPr id="18" name="TextBox 17"/>
            <p:cNvSpPr txBox="1"/>
            <p:nvPr/>
          </p:nvSpPr>
          <p:spPr>
            <a:xfrm>
              <a:off x="2798180" y="1276290"/>
              <a:ext cx="935620"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10</a:t>
              </a:r>
              <a:r>
                <a:rPr lang="en-US" altLang="ko-KR" b="1" dirty="0" smtClean="0">
                  <a:solidFill>
                    <a:schemeClr val="bg1"/>
                  </a:solidFill>
                  <a:cs typeface="Arial" pitchFamily="34" charset="0"/>
                </a:rPr>
                <a:t>%</a:t>
              </a:r>
              <a:endParaRPr lang="ko-KR" altLang="en-US" b="1" dirty="0">
                <a:solidFill>
                  <a:schemeClr val="bg1"/>
                </a:solidFill>
                <a:cs typeface="Arial" pitchFamily="34" charset="0"/>
              </a:endParaRPr>
            </a:p>
          </p:txBody>
        </p:sp>
      </p:grpSp>
      <p:grpSp>
        <p:nvGrpSpPr>
          <p:cNvPr id="4" name="Group 3"/>
          <p:cNvGrpSpPr/>
          <p:nvPr/>
        </p:nvGrpSpPr>
        <p:grpSpPr>
          <a:xfrm>
            <a:off x="7277174" y="3247720"/>
            <a:ext cx="812962" cy="701783"/>
            <a:chOff x="4775099" y="2338526"/>
            <a:chExt cx="812962" cy="701783"/>
          </a:xfrm>
        </p:grpSpPr>
        <p:sp>
          <p:nvSpPr>
            <p:cNvPr id="14" name="Oval 13"/>
            <p:cNvSpPr/>
            <p:nvPr/>
          </p:nvSpPr>
          <p:spPr>
            <a:xfrm>
              <a:off x="4839315" y="2338526"/>
              <a:ext cx="701783" cy="7017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TextBox 18"/>
            <p:cNvSpPr txBox="1"/>
            <p:nvPr/>
          </p:nvSpPr>
          <p:spPr>
            <a:xfrm>
              <a:off x="4775099" y="2472110"/>
              <a:ext cx="812962"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24</a:t>
              </a:r>
              <a:r>
                <a:rPr lang="en-US" altLang="ko-KR" sz="1600" b="1" dirty="0" smtClean="0">
                  <a:solidFill>
                    <a:schemeClr val="bg1"/>
                  </a:solidFill>
                  <a:cs typeface="Arial" pitchFamily="34" charset="0"/>
                </a:rPr>
                <a:t>%</a:t>
              </a:r>
              <a:endParaRPr lang="ko-KR" altLang="en-US" sz="1600" b="1" dirty="0">
                <a:solidFill>
                  <a:schemeClr val="bg1"/>
                </a:solidFill>
                <a:cs typeface="Arial" pitchFamily="34" charset="0"/>
              </a:endParaRPr>
            </a:p>
          </p:txBody>
        </p:sp>
      </p:grpSp>
      <p:grpSp>
        <p:nvGrpSpPr>
          <p:cNvPr id="2" name="Group 1"/>
          <p:cNvGrpSpPr/>
          <p:nvPr/>
        </p:nvGrpSpPr>
        <p:grpSpPr>
          <a:xfrm>
            <a:off x="9378288" y="2325665"/>
            <a:ext cx="812962" cy="758707"/>
            <a:chOff x="8305800" y="979145"/>
            <a:chExt cx="812962" cy="758707"/>
          </a:xfrm>
        </p:grpSpPr>
        <p:sp>
          <p:nvSpPr>
            <p:cNvPr id="13" name="Oval 12"/>
            <p:cNvSpPr/>
            <p:nvPr/>
          </p:nvSpPr>
          <p:spPr>
            <a:xfrm>
              <a:off x="8340234" y="979145"/>
              <a:ext cx="758707" cy="75870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TextBox 19"/>
            <p:cNvSpPr txBox="1"/>
            <p:nvPr/>
          </p:nvSpPr>
          <p:spPr>
            <a:xfrm>
              <a:off x="8305800" y="1137903"/>
              <a:ext cx="812962"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15</a:t>
              </a:r>
              <a:r>
                <a:rPr lang="en-US" altLang="ko-KR" sz="1600" b="1" dirty="0" smtClean="0">
                  <a:solidFill>
                    <a:schemeClr val="bg1"/>
                  </a:solidFill>
                  <a:cs typeface="Arial" pitchFamily="34" charset="0"/>
                </a:rPr>
                <a:t>%</a:t>
              </a:r>
              <a:endParaRPr lang="ko-KR" altLang="en-US" sz="1600" b="1" dirty="0">
                <a:solidFill>
                  <a:schemeClr val="bg1"/>
                </a:solidFill>
                <a:cs typeface="Arial" pitchFamily="34" charset="0"/>
              </a:endParaRPr>
            </a:p>
          </p:txBody>
        </p:sp>
      </p:grpSp>
      <p:grpSp>
        <p:nvGrpSpPr>
          <p:cNvPr id="33" name="Group 32"/>
          <p:cNvGrpSpPr/>
          <p:nvPr/>
        </p:nvGrpSpPr>
        <p:grpSpPr>
          <a:xfrm>
            <a:off x="4572000" y="4300329"/>
            <a:ext cx="812962" cy="758707"/>
            <a:chOff x="4018908" y="3983181"/>
            <a:chExt cx="812962" cy="758707"/>
          </a:xfrm>
        </p:grpSpPr>
        <p:sp>
          <p:nvSpPr>
            <p:cNvPr id="16" name="Oval 15"/>
            <p:cNvSpPr/>
            <p:nvPr/>
          </p:nvSpPr>
          <p:spPr>
            <a:xfrm>
              <a:off x="4038242" y="3983181"/>
              <a:ext cx="758707" cy="7587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TextBox 20"/>
            <p:cNvSpPr txBox="1"/>
            <p:nvPr/>
          </p:nvSpPr>
          <p:spPr>
            <a:xfrm>
              <a:off x="4018908" y="4124347"/>
              <a:ext cx="812962" cy="400110"/>
            </a:xfrm>
            <a:prstGeom prst="rect">
              <a:avLst/>
            </a:prstGeom>
            <a:noFill/>
          </p:spPr>
          <p:txBody>
            <a:bodyPr wrap="square" rtlCol="0">
              <a:spAutoFit/>
            </a:bodyPr>
            <a:lstStyle/>
            <a:p>
              <a:pPr algn="ctr"/>
              <a:r>
                <a:rPr lang="en-US" altLang="ko-KR" sz="2000" b="1" dirty="0" smtClean="0">
                  <a:solidFill>
                    <a:schemeClr val="bg1"/>
                  </a:solidFill>
                  <a:cs typeface="Arial" pitchFamily="34" charset="0"/>
                </a:rPr>
                <a:t>12</a:t>
              </a:r>
              <a:endParaRPr lang="ko-KR" altLang="en-US" sz="1600" b="1" dirty="0">
                <a:solidFill>
                  <a:schemeClr val="bg1"/>
                </a:solidFill>
                <a:cs typeface="Arial" pitchFamily="34" charset="0"/>
              </a:endParaRPr>
            </a:p>
          </p:txBody>
        </p:sp>
      </p:grpSp>
      <p:grpSp>
        <p:nvGrpSpPr>
          <p:cNvPr id="28" name="Group 27"/>
          <p:cNvGrpSpPr/>
          <p:nvPr/>
        </p:nvGrpSpPr>
        <p:grpSpPr>
          <a:xfrm>
            <a:off x="228600" y="1093429"/>
            <a:ext cx="1971080" cy="1149976"/>
            <a:chOff x="5004048" y="1666126"/>
            <a:chExt cx="1584176" cy="550441"/>
          </a:xfrm>
        </p:grpSpPr>
        <p:sp>
          <p:nvSpPr>
            <p:cNvPr id="29" name="TextBox 28"/>
            <p:cNvSpPr txBox="1"/>
            <p:nvPr/>
          </p:nvSpPr>
          <p:spPr>
            <a:xfrm>
              <a:off x="5004048" y="1880680"/>
              <a:ext cx="1584176" cy="335887"/>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24 % Citing OEE Improvement can be achieved </a:t>
              </a:r>
              <a:endParaRPr lang="en-US" altLang="ko-KR" sz="1200" dirty="0">
                <a:solidFill>
                  <a:schemeClr val="tx1">
                    <a:lumMod val="75000"/>
                    <a:lumOff val="25000"/>
                  </a:schemeClr>
                </a:solidFill>
                <a:cs typeface="Arial" pitchFamily="34" charset="0"/>
              </a:endParaRPr>
            </a:p>
          </p:txBody>
        </p:sp>
        <p:sp>
          <p:nvSpPr>
            <p:cNvPr id="30" name="TextBox 29"/>
            <p:cNvSpPr txBox="1"/>
            <p:nvPr/>
          </p:nvSpPr>
          <p:spPr>
            <a:xfrm>
              <a:off x="5004048" y="1666126"/>
              <a:ext cx="1584176"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OEE</a:t>
              </a:r>
              <a:endParaRPr lang="ko-KR" altLang="en-US" b="1" dirty="0">
                <a:solidFill>
                  <a:schemeClr val="tx1">
                    <a:lumMod val="75000"/>
                    <a:lumOff val="25000"/>
                  </a:schemeClr>
                </a:solidFill>
                <a:cs typeface="Arial" pitchFamily="34" charset="0"/>
              </a:endParaRPr>
            </a:p>
          </p:txBody>
        </p:sp>
      </p:grpSp>
      <p:grpSp>
        <p:nvGrpSpPr>
          <p:cNvPr id="31" name="Group 30"/>
          <p:cNvGrpSpPr/>
          <p:nvPr/>
        </p:nvGrpSpPr>
        <p:grpSpPr>
          <a:xfrm>
            <a:off x="228600" y="2325665"/>
            <a:ext cx="1971080" cy="946842"/>
            <a:chOff x="5004048" y="1666126"/>
            <a:chExt cx="1584176" cy="453210"/>
          </a:xfrm>
        </p:grpSpPr>
        <p:sp>
          <p:nvSpPr>
            <p:cNvPr id="34" name="TextBox 33"/>
            <p:cNvSpPr txBox="1"/>
            <p:nvPr/>
          </p:nvSpPr>
          <p:spPr>
            <a:xfrm>
              <a:off x="5004048" y="1880680"/>
              <a:ext cx="1584176" cy="238656"/>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10% improvement in line throughput</a:t>
              </a:r>
              <a:endParaRPr lang="en-US" altLang="ko-KR" sz="1200" dirty="0">
                <a:solidFill>
                  <a:schemeClr val="tx1">
                    <a:lumMod val="75000"/>
                    <a:lumOff val="25000"/>
                  </a:schemeClr>
                </a:solidFill>
                <a:cs typeface="Arial" pitchFamily="34" charset="0"/>
              </a:endParaRPr>
            </a:p>
          </p:txBody>
        </p:sp>
        <p:sp>
          <p:nvSpPr>
            <p:cNvPr id="35" name="TextBox 34"/>
            <p:cNvSpPr txBox="1"/>
            <p:nvPr/>
          </p:nvSpPr>
          <p:spPr>
            <a:xfrm>
              <a:off x="5004048" y="1666126"/>
              <a:ext cx="1584176"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Product Line</a:t>
              </a:r>
              <a:endParaRPr lang="ko-KR" altLang="en-US" b="1" dirty="0">
                <a:solidFill>
                  <a:schemeClr val="tx1">
                    <a:lumMod val="75000"/>
                    <a:lumOff val="25000"/>
                  </a:schemeClr>
                </a:solidFill>
                <a:cs typeface="Arial" pitchFamily="34" charset="0"/>
              </a:endParaRPr>
            </a:p>
          </p:txBody>
        </p:sp>
      </p:grpSp>
      <p:grpSp>
        <p:nvGrpSpPr>
          <p:cNvPr id="36" name="Group 35"/>
          <p:cNvGrpSpPr/>
          <p:nvPr/>
        </p:nvGrpSpPr>
        <p:grpSpPr>
          <a:xfrm>
            <a:off x="266132" y="4841605"/>
            <a:ext cx="2231408" cy="1149976"/>
            <a:chOff x="5004048" y="1666126"/>
            <a:chExt cx="1793404" cy="550441"/>
          </a:xfrm>
        </p:grpSpPr>
        <p:sp>
          <p:nvSpPr>
            <p:cNvPr id="37" name="TextBox 36"/>
            <p:cNvSpPr txBox="1"/>
            <p:nvPr/>
          </p:nvSpPr>
          <p:spPr>
            <a:xfrm>
              <a:off x="5004048" y="1880680"/>
              <a:ext cx="1793404" cy="335887"/>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15% productivity improves on identifying manufacturing defects</a:t>
              </a:r>
              <a:endParaRPr lang="en-US" altLang="ko-KR" sz="1200" dirty="0">
                <a:solidFill>
                  <a:schemeClr val="tx1">
                    <a:lumMod val="75000"/>
                    <a:lumOff val="25000"/>
                  </a:schemeClr>
                </a:solidFill>
                <a:cs typeface="Arial" pitchFamily="34" charset="0"/>
              </a:endParaRPr>
            </a:p>
          </p:txBody>
        </p:sp>
        <p:sp>
          <p:nvSpPr>
            <p:cNvPr id="38" name="TextBox 37"/>
            <p:cNvSpPr txBox="1"/>
            <p:nvPr/>
          </p:nvSpPr>
          <p:spPr>
            <a:xfrm>
              <a:off x="5004048" y="1666126"/>
              <a:ext cx="1697314"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Productivity</a:t>
              </a:r>
              <a:endParaRPr lang="ko-KR" altLang="en-US" b="1" dirty="0">
                <a:solidFill>
                  <a:schemeClr val="tx1">
                    <a:lumMod val="75000"/>
                    <a:lumOff val="25000"/>
                  </a:schemeClr>
                </a:solidFill>
                <a:cs typeface="Arial" pitchFamily="34" charset="0"/>
              </a:endParaRPr>
            </a:p>
          </p:txBody>
        </p:sp>
      </p:grpSp>
      <p:grpSp>
        <p:nvGrpSpPr>
          <p:cNvPr id="39" name="Group 38"/>
          <p:cNvGrpSpPr/>
          <p:nvPr/>
        </p:nvGrpSpPr>
        <p:grpSpPr>
          <a:xfrm>
            <a:off x="228600" y="3598440"/>
            <a:ext cx="2111850" cy="946842"/>
            <a:chOff x="5004048" y="1666126"/>
            <a:chExt cx="1697314" cy="453210"/>
          </a:xfrm>
        </p:grpSpPr>
        <p:sp>
          <p:nvSpPr>
            <p:cNvPr id="40" name="TextBox 39"/>
            <p:cNvSpPr txBox="1"/>
            <p:nvPr/>
          </p:nvSpPr>
          <p:spPr>
            <a:xfrm>
              <a:off x="5004048" y="1880680"/>
              <a:ext cx="1584176" cy="238656"/>
            </a:xfrm>
            <a:prstGeom prst="rect">
              <a:avLst/>
            </a:prstGeom>
            <a:noFill/>
          </p:spPr>
          <p:txBody>
            <a:bodyPr wrap="square" rtlCol="0">
              <a:spAutoFit/>
            </a:bodyPr>
            <a:lstStyle/>
            <a:p>
              <a:pPr>
                <a:lnSpc>
                  <a:spcPct val="110000"/>
                </a:lnSpc>
              </a:pPr>
              <a:r>
                <a:rPr lang="en-US" altLang="ko-KR" sz="1200" dirty="0" smtClean="0">
                  <a:solidFill>
                    <a:schemeClr val="tx1">
                      <a:lumMod val="75000"/>
                      <a:lumOff val="25000"/>
                    </a:schemeClr>
                  </a:solidFill>
                  <a:cs typeface="Arial" pitchFamily="34" charset="0"/>
                </a:rPr>
                <a:t>12 points increase in labor utilization</a:t>
              </a:r>
              <a:endParaRPr lang="en-US" altLang="ko-KR" sz="1200" dirty="0">
                <a:solidFill>
                  <a:schemeClr val="tx1">
                    <a:lumMod val="75000"/>
                    <a:lumOff val="25000"/>
                  </a:schemeClr>
                </a:solidFill>
                <a:cs typeface="Arial" pitchFamily="34" charset="0"/>
              </a:endParaRPr>
            </a:p>
          </p:txBody>
        </p:sp>
        <p:sp>
          <p:nvSpPr>
            <p:cNvPr id="41" name="TextBox 40"/>
            <p:cNvSpPr txBox="1"/>
            <p:nvPr/>
          </p:nvSpPr>
          <p:spPr>
            <a:xfrm>
              <a:off x="5004048" y="1666126"/>
              <a:ext cx="1697314" cy="176782"/>
            </a:xfrm>
            <a:prstGeom prst="rect">
              <a:avLst/>
            </a:prstGeom>
            <a:noFill/>
          </p:spPr>
          <p:txBody>
            <a:bodyPr wrap="square" rtlCol="0">
              <a:spAutoFit/>
            </a:bodyPr>
            <a:lstStyle/>
            <a:p>
              <a:r>
                <a:rPr lang="en-US" altLang="ko-KR" b="1" dirty="0" smtClean="0">
                  <a:solidFill>
                    <a:schemeClr val="tx1">
                      <a:lumMod val="75000"/>
                      <a:lumOff val="25000"/>
                    </a:schemeClr>
                  </a:solidFill>
                  <a:cs typeface="Arial" pitchFamily="34" charset="0"/>
                </a:rPr>
                <a:t>Worker</a:t>
              </a:r>
              <a:endParaRPr lang="ko-KR" altLang="en-US" b="1" dirty="0">
                <a:solidFill>
                  <a:schemeClr val="tx1">
                    <a:lumMod val="75000"/>
                    <a:lumOff val="25000"/>
                  </a:schemeClr>
                </a:solidFill>
                <a:cs typeface="Arial" pitchFamily="34" charset="0"/>
              </a:endParaRPr>
            </a:p>
          </p:txBody>
        </p:sp>
      </p:grpSp>
    </p:spTree>
    <p:extLst>
      <p:ext uri="{BB962C8B-B14F-4D97-AF65-F5344CB8AC3E}">
        <p14:creationId xmlns:p14="http://schemas.microsoft.com/office/powerpoint/2010/main" val="362244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oad Map</a:t>
            </a:r>
            <a:endParaRPr lang="en-US" dirty="0"/>
          </a:p>
        </p:txBody>
      </p:sp>
      <p:pic>
        <p:nvPicPr>
          <p:cNvPr id="256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413" y="914400"/>
            <a:ext cx="10925175" cy="5495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5029200" y="1371600"/>
            <a:ext cx="2590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2">
                    <a:lumMod val="50000"/>
                  </a:schemeClr>
                </a:solidFill>
              </a:rPr>
              <a:t>For</a:t>
            </a:r>
            <a:endParaRPr lang="en-US" dirty="0">
              <a:solidFill>
                <a:schemeClr val="accent2">
                  <a:lumMod val="50000"/>
                </a:schemeClr>
              </a:solidFill>
            </a:endParaRPr>
          </a:p>
        </p:txBody>
      </p:sp>
      <p:sp>
        <p:nvSpPr>
          <p:cNvPr id="10" name="Rectangle 9"/>
          <p:cNvSpPr/>
          <p:nvPr/>
        </p:nvSpPr>
        <p:spPr>
          <a:xfrm>
            <a:off x="5029200" y="1371600"/>
            <a:ext cx="2590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Employee Safety using Smart watches</a:t>
            </a:r>
          </a:p>
        </p:txBody>
      </p:sp>
      <p:sp>
        <p:nvSpPr>
          <p:cNvPr id="11" name="Rectangle 10"/>
          <p:cNvSpPr/>
          <p:nvPr/>
        </p:nvSpPr>
        <p:spPr>
          <a:xfrm>
            <a:off x="7467600" y="2667000"/>
            <a:ext cx="2590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191000" y="4800600"/>
            <a:ext cx="2133600" cy="106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990600" y="3200400"/>
            <a:ext cx="21336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212609" y="5010834"/>
            <a:ext cx="2209800" cy="830997"/>
          </a:xfrm>
          <a:prstGeom prst="rect">
            <a:avLst/>
          </a:prstGeom>
          <a:noFill/>
        </p:spPr>
        <p:txBody>
          <a:bodyPr wrap="square" rtlCol="0">
            <a:spAutoFit/>
          </a:bodyPr>
          <a:lstStyle/>
          <a:p>
            <a:r>
              <a:rPr lang="en-US" sz="1600" dirty="0"/>
              <a:t>Extracting data from PLC/</a:t>
            </a:r>
            <a:r>
              <a:rPr lang="en-US" sz="1600" dirty="0" err="1"/>
              <a:t>Scada</a:t>
            </a:r>
            <a:r>
              <a:rPr lang="en-US" sz="1600" dirty="0"/>
              <a:t> Controller</a:t>
            </a:r>
          </a:p>
        </p:txBody>
      </p:sp>
      <p:sp>
        <p:nvSpPr>
          <p:cNvPr id="15" name="TextBox 14"/>
          <p:cNvSpPr txBox="1"/>
          <p:nvPr/>
        </p:nvSpPr>
        <p:spPr>
          <a:xfrm>
            <a:off x="7488072" y="2692865"/>
            <a:ext cx="2646528" cy="830997"/>
          </a:xfrm>
          <a:prstGeom prst="rect">
            <a:avLst/>
          </a:prstGeom>
          <a:noFill/>
        </p:spPr>
        <p:txBody>
          <a:bodyPr wrap="square" rtlCol="0">
            <a:spAutoFit/>
          </a:bodyPr>
          <a:lstStyle/>
          <a:p>
            <a:r>
              <a:rPr lang="en-US" sz="1600" dirty="0" smtClean="0"/>
              <a:t>Applying mechanism for fully automated lines</a:t>
            </a:r>
            <a:endParaRPr lang="en-US" sz="1600" dirty="0"/>
          </a:p>
        </p:txBody>
      </p:sp>
      <p:sp>
        <p:nvSpPr>
          <p:cNvPr id="16" name="TextBox 15"/>
          <p:cNvSpPr txBox="1"/>
          <p:nvPr/>
        </p:nvSpPr>
        <p:spPr>
          <a:xfrm>
            <a:off x="990600" y="3174708"/>
            <a:ext cx="2133600" cy="1077218"/>
          </a:xfrm>
          <a:prstGeom prst="rect">
            <a:avLst/>
          </a:prstGeom>
          <a:noFill/>
        </p:spPr>
        <p:txBody>
          <a:bodyPr wrap="square" rtlCol="0">
            <a:spAutoFit/>
          </a:bodyPr>
          <a:lstStyle/>
          <a:p>
            <a:r>
              <a:rPr lang="en-US" sz="1600" dirty="0"/>
              <a:t>Visualization of asset conditions using smart glasses</a:t>
            </a:r>
          </a:p>
        </p:txBody>
      </p:sp>
    </p:spTree>
    <p:extLst>
      <p:ext uri="{BB962C8B-B14F-4D97-AF65-F5344CB8AC3E}">
        <p14:creationId xmlns:p14="http://schemas.microsoft.com/office/powerpoint/2010/main" val="11030010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66800" y="2971800"/>
            <a:ext cx="10944596" cy="865054"/>
          </a:xfrm>
        </p:spPr>
        <p:txBody>
          <a:bodyPr/>
          <a:lstStyle/>
          <a:p>
            <a:r>
              <a:rPr lang="en-US" dirty="0" smtClean="0"/>
              <a:t>                                       </a:t>
            </a:r>
            <a:r>
              <a:rPr lang="en-US" sz="3200" b="1" dirty="0" smtClean="0"/>
              <a:t>Q &amp; A</a:t>
            </a:r>
            <a:endParaRPr lang="en-US" sz="3200" b="1" dirty="0"/>
          </a:p>
        </p:txBody>
      </p:sp>
    </p:spTree>
    <p:extLst>
      <p:ext uri="{BB962C8B-B14F-4D97-AF65-F5344CB8AC3E}">
        <p14:creationId xmlns:p14="http://schemas.microsoft.com/office/powerpoint/2010/main" val="33127525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8497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sz="quarter" idx="11"/>
          </p:nvPr>
        </p:nvSpPr>
        <p:spPr>
          <a:xfrm>
            <a:off x="7848600" y="1504536"/>
            <a:ext cx="3708401" cy="555448"/>
          </a:xfrm>
        </p:spPr>
        <p:txBody>
          <a:bodyPr/>
          <a:lstStyle/>
          <a:p>
            <a:r>
              <a:rPr lang="it-IT" sz="1800" dirty="0"/>
              <a:t>Business Context</a:t>
            </a:r>
            <a:endParaRPr lang="en-US" sz="1800" dirty="0"/>
          </a:p>
        </p:txBody>
      </p:sp>
      <p:sp>
        <p:nvSpPr>
          <p:cNvPr id="8" name="Text Placeholder 3"/>
          <p:cNvSpPr>
            <a:spLocks noGrp="1"/>
          </p:cNvSpPr>
          <p:nvPr>
            <p:ph type="body" sz="quarter" idx="13"/>
          </p:nvPr>
        </p:nvSpPr>
        <p:spPr>
          <a:xfrm>
            <a:off x="7873999" y="2416352"/>
            <a:ext cx="3708401" cy="555448"/>
          </a:xfrm>
        </p:spPr>
        <p:txBody>
          <a:bodyPr/>
          <a:lstStyle/>
          <a:p>
            <a:r>
              <a:rPr lang="it-IT" dirty="0">
                <a:solidFill>
                  <a:schemeClr val="tx1"/>
                </a:solidFill>
              </a:rPr>
              <a:t>Problem Statement</a:t>
            </a:r>
          </a:p>
        </p:txBody>
      </p:sp>
      <p:sp>
        <p:nvSpPr>
          <p:cNvPr id="9" name="Text Placeholder 4"/>
          <p:cNvSpPr>
            <a:spLocks noGrp="1"/>
          </p:cNvSpPr>
          <p:nvPr>
            <p:ph type="body" sz="quarter" idx="4294967295"/>
          </p:nvPr>
        </p:nvSpPr>
        <p:spPr>
          <a:xfrm>
            <a:off x="7873999" y="3330752"/>
            <a:ext cx="3708401" cy="555448"/>
          </a:xfrm>
          <a:prstGeom prst="rect">
            <a:avLst/>
          </a:prstGeom>
        </p:spPr>
        <p:txBody>
          <a:bodyPr/>
          <a:lstStyle/>
          <a:p>
            <a:r>
              <a:rPr lang="it-IT" dirty="0"/>
              <a:t>Demo</a:t>
            </a:r>
          </a:p>
        </p:txBody>
      </p:sp>
      <p:sp>
        <p:nvSpPr>
          <p:cNvPr id="10" name="Title 10"/>
          <p:cNvSpPr>
            <a:spLocks noGrp="1"/>
          </p:cNvSpPr>
          <p:nvPr>
            <p:ph type="title"/>
          </p:nvPr>
        </p:nvSpPr>
        <p:spPr>
          <a:xfrm>
            <a:off x="407988" y="404813"/>
            <a:ext cx="11016604" cy="863600"/>
          </a:xfrm>
        </p:spPr>
        <p:txBody>
          <a:bodyPr/>
          <a:lstStyle/>
          <a:p>
            <a:r>
              <a:rPr lang="it-IT" dirty="0"/>
              <a:t>Agenda</a:t>
            </a:r>
            <a:endParaRPr lang="en-US" dirty="0"/>
          </a:p>
        </p:txBody>
      </p:sp>
      <p:grpSp>
        <p:nvGrpSpPr>
          <p:cNvPr id="11" name="Group 104"/>
          <p:cNvGrpSpPr/>
          <p:nvPr/>
        </p:nvGrpSpPr>
        <p:grpSpPr>
          <a:xfrm>
            <a:off x="763252" y="2029642"/>
            <a:ext cx="3446017" cy="3412189"/>
            <a:chOff x="3084250" y="2348880"/>
            <a:chExt cx="2986385" cy="2986385"/>
          </a:xfrm>
        </p:grpSpPr>
        <p:sp>
          <p:nvSpPr>
            <p:cNvPr id="12" name="Oval 11"/>
            <p:cNvSpPr/>
            <p:nvPr/>
          </p:nvSpPr>
          <p:spPr bwMode="auto">
            <a:xfrm>
              <a:off x="3084250" y="2348880"/>
              <a:ext cx="2986385" cy="2986385"/>
            </a:xfrm>
            <a:prstGeom prst="ellipse">
              <a:avLst/>
            </a:prstGeom>
            <a:solidFill>
              <a:schemeClr val="bg1">
                <a:lumMod val="75000"/>
              </a:schemeClr>
            </a:solidFill>
            <a:ln w="6350" cap="flat" cmpd="sng" algn="ctr">
              <a:noFill/>
              <a:prstDash val="solid"/>
              <a:round/>
              <a:headEnd type="none" w="med" len="med"/>
              <a:tailEnd type="none" w="med" len="med"/>
            </a:ln>
            <a:effectLst>
              <a:outerShdw blurRad="63500" sx="102000" sy="102000" algn="ctr" rotWithShape="0">
                <a:prstClr val="black">
                  <a:alpha val="13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13" name="Oval 12"/>
            <p:cNvSpPr/>
            <p:nvPr/>
          </p:nvSpPr>
          <p:spPr bwMode="auto">
            <a:xfrm>
              <a:off x="3357436" y="2622066"/>
              <a:ext cx="2440012" cy="2440012"/>
            </a:xfrm>
            <a:prstGeom prst="ellipse">
              <a:avLst/>
            </a:prstGeom>
            <a:solidFill>
              <a:schemeClr val="bg1"/>
            </a:solidFill>
            <a:ln w="6350" cap="flat" cmpd="sng" algn="ctr">
              <a:noFill/>
              <a:prstDash val="solid"/>
              <a:round/>
              <a:headEnd type="none" w="med" len="med"/>
              <a:tailEnd type="none" w="med" len="med"/>
            </a:ln>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grpSp>
          <p:nvGrpSpPr>
            <p:cNvPr id="14" name="Group 375"/>
            <p:cNvGrpSpPr/>
            <p:nvPr/>
          </p:nvGrpSpPr>
          <p:grpSpPr>
            <a:xfrm>
              <a:off x="3084250" y="2348880"/>
              <a:ext cx="2986385" cy="2952328"/>
              <a:chOff x="327025" y="2348880"/>
              <a:chExt cx="2986385" cy="2952328"/>
            </a:xfrm>
          </p:grpSpPr>
          <p:cxnSp>
            <p:nvCxnSpPr>
              <p:cNvPr id="15" name="Straight Connector 14"/>
              <p:cNvCxnSpPr>
                <a:stCxn id="12" idx="0"/>
              </p:cNvCxnSpPr>
              <p:nvPr/>
            </p:nvCxnSpPr>
            <p:spPr>
              <a:xfrm>
                <a:off x="1820218" y="2348880"/>
                <a:ext cx="434" cy="2952328"/>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2" idx="7"/>
                <a:endCxn id="12" idx="3"/>
              </p:cNvCxnSpPr>
              <p:nvPr/>
            </p:nvCxnSpPr>
            <p:spPr>
              <a:xfrm flipH="1">
                <a:off x="764371" y="2786226"/>
                <a:ext cx="2111693" cy="2111693"/>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2" idx="6"/>
                <a:endCxn id="12" idx="2"/>
              </p:cNvCxnSpPr>
              <p:nvPr/>
            </p:nvCxnSpPr>
            <p:spPr>
              <a:xfrm flipH="1">
                <a:off x="327025" y="3842073"/>
                <a:ext cx="2986385"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2" idx="5"/>
                <a:endCxn id="12" idx="1"/>
              </p:cNvCxnSpPr>
              <p:nvPr/>
            </p:nvCxnSpPr>
            <p:spPr>
              <a:xfrm flipH="1" flipV="1">
                <a:off x="764371" y="2786226"/>
                <a:ext cx="2111693" cy="2111693"/>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9" name="Oval 18"/>
          <p:cNvSpPr/>
          <p:nvPr/>
        </p:nvSpPr>
        <p:spPr bwMode="auto">
          <a:xfrm>
            <a:off x="1997925" y="1556741"/>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0" name="Oval 19"/>
          <p:cNvSpPr/>
          <p:nvPr/>
        </p:nvSpPr>
        <p:spPr bwMode="auto">
          <a:xfrm>
            <a:off x="2087886" y="1645816"/>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1" name="Oval 20"/>
          <p:cNvSpPr/>
          <p:nvPr/>
        </p:nvSpPr>
        <p:spPr bwMode="auto">
          <a:xfrm>
            <a:off x="3250197" y="2137491"/>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2" name="Oval 21"/>
          <p:cNvSpPr/>
          <p:nvPr/>
        </p:nvSpPr>
        <p:spPr bwMode="auto">
          <a:xfrm>
            <a:off x="3340156" y="2226568"/>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3" name="Oval 22"/>
          <p:cNvSpPr/>
          <p:nvPr/>
        </p:nvSpPr>
        <p:spPr bwMode="auto">
          <a:xfrm>
            <a:off x="3749521" y="3259751"/>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4" name="Oval 23"/>
          <p:cNvSpPr/>
          <p:nvPr/>
        </p:nvSpPr>
        <p:spPr bwMode="auto">
          <a:xfrm>
            <a:off x="3839483" y="3348827"/>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5" name="Oval 24"/>
          <p:cNvSpPr/>
          <p:nvPr/>
        </p:nvSpPr>
        <p:spPr bwMode="auto">
          <a:xfrm>
            <a:off x="1622535" y="2880487"/>
            <a:ext cx="1727459" cy="1710501"/>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26" name="Oval 25"/>
          <p:cNvSpPr/>
          <p:nvPr/>
        </p:nvSpPr>
        <p:spPr bwMode="auto">
          <a:xfrm>
            <a:off x="1714368" y="2971422"/>
            <a:ext cx="1543784" cy="1528628"/>
          </a:xfrm>
          <a:prstGeom prst="ellipse">
            <a:avLst/>
          </a:prstGeom>
          <a:solidFill>
            <a:schemeClr val="bg2">
              <a:lumMod val="75000"/>
            </a:schemeClr>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09" eaLnBrk="0" hangingPunct="0"/>
            <a:endParaRPr lang="en-GB" sz="1200" dirty="0">
              <a:solidFill>
                <a:schemeClr val="bg1"/>
              </a:solidFill>
              <a:latin typeface="Calibri" panose="020F0502020204030204" pitchFamily="34" charset="0"/>
              <a:cs typeface="Arial" charset="0"/>
            </a:endParaRPr>
          </a:p>
        </p:txBody>
      </p:sp>
      <p:grpSp>
        <p:nvGrpSpPr>
          <p:cNvPr id="27" name="Group 121"/>
          <p:cNvGrpSpPr/>
          <p:nvPr/>
        </p:nvGrpSpPr>
        <p:grpSpPr>
          <a:xfrm>
            <a:off x="3483670" y="2378601"/>
            <a:ext cx="501313" cy="395394"/>
            <a:chOff x="3025776" y="1425575"/>
            <a:chExt cx="733425" cy="584201"/>
          </a:xfrm>
        </p:grpSpPr>
        <p:sp>
          <p:nvSpPr>
            <p:cNvPr id="28" name="Freeform 15"/>
            <p:cNvSpPr>
              <a:spLocks/>
            </p:cNvSpPr>
            <p:nvPr/>
          </p:nvSpPr>
          <p:spPr bwMode="auto">
            <a:xfrm>
              <a:off x="3025776" y="1624013"/>
              <a:ext cx="733425" cy="385763"/>
            </a:xfrm>
            <a:custGeom>
              <a:avLst/>
              <a:gdLst/>
              <a:ahLst/>
              <a:cxnLst>
                <a:cxn ang="0">
                  <a:pos x="462" y="243"/>
                </a:cxn>
                <a:cxn ang="0">
                  <a:pos x="407" y="64"/>
                </a:cxn>
                <a:cxn ang="0">
                  <a:pos x="301" y="0"/>
                </a:cxn>
                <a:cxn ang="0">
                  <a:pos x="179" y="59"/>
                </a:cxn>
                <a:cxn ang="0">
                  <a:pos x="54" y="24"/>
                </a:cxn>
                <a:cxn ang="0">
                  <a:pos x="0" y="191"/>
                </a:cxn>
                <a:cxn ang="0">
                  <a:pos x="162" y="239"/>
                </a:cxn>
                <a:cxn ang="0">
                  <a:pos x="323" y="161"/>
                </a:cxn>
                <a:cxn ang="0">
                  <a:pos x="417" y="215"/>
                </a:cxn>
              </a:cxnLst>
              <a:rect l="0" t="0" r="r" b="b"/>
              <a:pathLst>
                <a:path w="462" h="243">
                  <a:moveTo>
                    <a:pt x="462" y="243"/>
                  </a:moveTo>
                  <a:lnTo>
                    <a:pt x="407" y="64"/>
                  </a:lnTo>
                  <a:lnTo>
                    <a:pt x="301" y="0"/>
                  </a:lnTo>
                  <a:lnTo>
                    <a:pt x="179" y="59"/>
                  </a:lnTo>
                  <a:lnTo>
                    <a:pt x="54" y="24"/>
                  </a:lnTo>
                  <a:lnTo>
                    <a:pt x="0" y="191"/>
                  </a:lnTo>
                  <a:lnTo>
                    <a:pt x="162" y="239"/>
                  </a:lnTo>
                  <a:lnTo>
                    <a:pt x="323" y="161"/>
                  </a:lnTo>
                  <a:lnTo>
                    <a:pt x="417" y="215"/>
                  </a:lnTo>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29" name="Freeform 16"/>
            <p:cNvSpPr>
              <a:spLocks/>
            </p:cNvSpPr>
            <p:nvPr/>
          </p:nvSpPr>
          <p:spPr bwMode="auto">
            <a:xfrm>
              <a:off x="3343276" y="1778000"/>
              <a:ext cx="96838" cy="66675"/>
            </a:xfrm>
            <a:custGeom>
              <a:avLst/>
              <a:gdLst/>
              <a:ahLst/>
              <a:cxnLst>
                <a:cxn ang="0">
                  <a:pos x="25" y="4"/>
                </a:cxn>
                <a:cxn ang="0">
                  <a:pos x="16" y="16"/>
                </a:cxn>
                <a:cxn ang="0">
                  <a:pos x="1" y="14"/>
                </a:cxn>
                <a:cxn ang="0">
                  <a:pos x="10" y="2"/>
                </a:cxn>
                <a:cxn ang="0">
                  <a:pos x="25" y="4"/>
                </a:cxn>
              </a:cxnLst>
              <a:rect l="0" t="0" r="r" b="b"/>
              <a:pathLst>
                <a:path w="26" h="18">
                  <a:moveTo>
                    <a:pt x="25" y="4"/>
                  </a:moveTo>
                  <a:cubicBezTo>
                    <a:pt x="26" y="8"/>
                    <a:pt x="22" y="13"/>
                    <a:pt x="16" y="16"/>
                  </a:cubicBezTo>
                  <a:cubicBezTo>
                    <a:pt x="9" y="18"/>
                    <a:pt x="3" y="17"/>
                    <a:pt x="1" y="14"/>
                  </a:cubicBezTo>
                  <a:cubicBezTo>
                    <a:pt x="0" y="10"/>
                    <a:pt x="4" y="5"/>
                    <a:pt x="10" y="2"/>
                  </a:cubicBezTo>
                  <a:cubicBezTo>
                    <a:pt x="17" y="0"/>
                    <a:pt x="24" y="0"/>
                    <a:pt x="25" y="4"/>
                  </a:cubicBezTo>
                  <a:close/>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0" name="Freeform 17"/>
            <p:cNvSpPr>
              <a:spLocks/>
            </p:cNvSpPr>
            <p:nvPr/>
          </p:nvSpPr>
          <p:spPr bwMode="auto">
            <a:xfrm>
              <a:off x="3282951" y="1736725"/>
              <a:ext cx="228600" cy="160338"/>
            </a:xfrm>
            <a:custGeom>
              <a:avLst/>
              <a:gdLst/>
              <a:ahLst/>
              <a:cxnLst>
                <a:cxn ang="0">
                  <a:pos x="58" y="11"/>
                </a:cxn>
                <a:cxn ang="0">
                  <a:pos x="36" y="37"/>
                </a:cxn>
                <a:cxn ang="0">
                  <a:pos x="3" y="32"/>
                </a:cxn>
                <a:cxn ang="0">
                  <a:pos x="24" y="6"/>
                </a:cxn>
                <a:cxn ang="0">
                  <a:pos x="58" y="11"/>
                </a:cxn>
              </a:cxnLst>
              <a:rect l="0" t="0" r="r" b="b"/>
              <a:pathLst>
                <a:path w="61" h="43">
                  <a:moveTo>
                    <a:pt x="58" y="11"/>
                  </a:moveTo>
                  <a:cubicBezTo>
                    <a:pt x="61" y="19"/>
                    <a:pt x="51" y="31"/>
                    <a:pt x="36" y="37"/>
                  </a:cubicBezTo>
                  <a:cubicBezTo>
                    <a:pt x="21" y="43"/>
                    <a:pt x="7" y="41"/>
                    <a:pt x="3" y="32"/>
                  </a:cubicBezTo>
                  <a:cubicBezTo>
                    <a:pt x="0" y="24"/>
                    <a:pt x="9" y="12"/>
                    <a:pt x="24" y="6"/>
                  </a:cubicBezTo>
                  <a:cubicBezTo>
                    <a:pt x="39" y="0"/>
                    <a:pt x="54" y="3"/>
                    <a:pt x="58" y="11"/>
                  </a:cubicBezTo>
                  <a:close/>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1" name="Line 18"/>
            <p:cNvSpPr>
              <a:spLocks noChangeShapeType="1"/>
            </p:cNvSpPr>
            <p:nvPr/>
          </p:nvSpPr>
          <p:spPr bwMode="auto">
            <a:xfrm flipV="1">
              <a:off x="3392488" y="1458913"/>
              <a:ext cx="1588" cy="360363"/>
            </a:xfrm>
            <a:prstGeom prst="line">
              <a:avLst/>
            </a:pr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2" name="Freeform 19"/>
            <p:cNvSpPr>
              <a:spLocks/>
            </p:cNvSpPr>
            <p:nvPr/>
          </p:nvSpPr>
          <p:spPr bwMode="auto">
            <a:xfrm>
              <a:off x="3392488" y="1425575"/>
              <a:ext cx="239713" cy="115888"/>
            </a:xfrm>
            <a:custGeom>
              <a:avLst/>
              <a:gdLst/>
              <a:ahLst/>
              <a:cxnLst>
                <a:cxn ang="0">
                  <a:pos x="0" y="9"/>
                </a:cxn>
                <a:cxn ang="0">
                  <a:pos x="18" y="0"/>
                </a:cxn>
                <a:cxn ang="0">
                  <a:pos x="43" y="16"/>
                </a:cxn>
                <a:cxn ang="0">
                  <a:pos x="64" y="18"/>
                </a:cxn>
                <a:cxn ang="0">
                  <a:pos x="39" y="31"/>
                </a:cxn>
                <a:cxn ang="0">
                  <a:pos x="14" y="22"/>
                </a:cxn>
                <a:cxn ang="0">
                  <a:pos x="0" y="31"/>
                </a:cxn>
              </a:cxnLst>
              <a:rect l="0" t="0" r="r" b="b"/>
              <a:pathLst>
                <a:path w="64" h="31">
                  <a:moveTo>
                    <a:pt x="0" y="9"/>
                  </a:moveTo>
                  <a:cubicBezTo>
                    <a:pt x="0" y="9"/>
                    <a:pt x="7" y="0"/>
                    <a:pt x="18" y="0"/>
                  </a:cubicBezTo>
                  <a:cubicBezTo>
                    <a:pt x="28" y="0"/>
                    <a:pt x="32" y="15"/>
                    <a:pt x="43" y="16"/>
                  </a:cubicBezTo>
                  <a:cubicBezTo>
                    <a:pt x="55" y="17"/>
                    <a:pt x="64" y="18"/>
                    <a:pt x="64" y="18"/>
                  </a:cubicBezTo>
                  <a:cubicBezTo>
                    <a:pt x="64" y="18"/>
                    <a:pt x="56" y="31"/>
                    <a:pt x="39" y="31"/>
                  </a:cubicBezTo>
                  <a:cubicBezTo>
                    <a:pt x="21" y="31"/>
                    <a:pt x="22" y="20"/>
                    <a:pt x="14" y="22"/>
                  </a:cubicBezTo>
                  <a:cubicBezTo>
                    <a:pt x="6" y="23"/>
                    <a:pt x="0" y="31"/>
                    <a:pt x="0" y="31"/>
                  </a:cubicBezTo>
                </a:path>
              </a:pathLst>
            </a:cu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3" name="Line 20"/>
            <p:cNvSpPr>
              <a:spLocks noChangeShapeType="1"/>
            </p:cNvSpPr>
            <p:nvPr/>
          </p:nvSpPr>
          <p:spPr bwMode="auto">
            <a:xfrm>
              <a:off x="3503613" y="1624013"/>
              <a:ext cx="34925" cy="255588"/>
            </a:xfrm>
            <a:prstGeom prst="line">
              <a:avLst/>
            </a:pr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4" name="Line 21"/>
            <p:cNvSpPr>
              <a:spLocks noChangeShapeType="1"/>
            </p:cNvSpPr>
            <p:nvPr/>
          </p:nvSpPr>
          <p:spPr bwMode="auto">
            <a:xfrm flipH="1">
              <a:off x="3282951" y="1717675"/>
              <a:ext cx="26988" cy="285750"/>
            </a:xfrm>
            <a:prstGeom prst="line">
              <a:avLst/>
            </a:prstGeom>
            <a:noFill/>
            <a:ln w="12700" cap="rnd">
              <a:solidFill>
                <a:schemeClr val="bg1">
                  <a:alpha val="65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grpSp>
      <p:grpSp>
        <p:nvGrpSpPr>
          <p:cNvPr id="35" name="Group 169"/>
          <p:cNvGrpSpPr/>
          <p:nvPr/>
        </p:nvGrpSpPr>
        <p:grpSpPr>
          <a:xfrm>
            <a:off x="2107743" y="3249973"/>
            <a:ext cx="757037" cy="971532"/>
            <a:chOff x="-3179763" y="1495425"/>
            <a:chExt cx="3179763" cy="4121150"/>
          </a:xfrm>
          <a:solidFill>
            <a:schemeClr val="bg1"/>
          </a:solidFill>
        </p:grpSpPr>
        <p:sp>
          <p:nvSpPr>
            <p:cNvPr id="36" name="Freeform 63"/>
            <p:cNvSpPr>
              <a:spLocks/>
            </p:cNvSpPr>
            <p:nvPr/>
          </p:nvSpPr>
          <p:spPr bwMode="auto">
            <a:xfrm>
              <a:off x="-2065338" y="4154488"/>
              <a:ext cx="1346200" cy="82550"/>
            </a:xfrm>
            <a:custGeom>
              <a:avLst/>
              <a:gdLst/>
              <a:ahLst/>
              <a:cxnLst>
                <a:cxn ang="0">
                  <a:pos x="349" y="0"/>
                </a:cxn>
                <a:cxn ang="0">
                  <a:pos x="11" y="0"/>
                </a:cxn>
                <a:cxn ang="0">
                  <a:pos x="0" y="11"/>
                </a:cxn>
                <a:cxn ang="0">
                  <a:pos x="11" y="22"/>
                </a:cxn>
                <a:cxn ang="0">
                  <a:pos x="349" y="22"/>
                </a:cxn>
                <a:cxn ang="0">
                  <a:pos x="359" y="11"/>
                </a:cxn>
                <a:cxn ang="0">
                  <a:pos x="349" y="0"/>
                </a:cxn>
              </a:cxnLst>
              <a:rect l="0" t="0" r="r" b="b"/>
              <a:pathLst>
                <a:path w="359" h="22">
                  <a:moveTo>
                    <a:pt x="349" y="0"/>
                  </a:moveTo>
                  <a:cubicBezTo>
                    <a:pt x="11" y="0"/>
                    <a:pt x="11" y="0"/>
                    <a:pt x="11" y="0"/>
                  </a:cubicBezTo>
                  <a:cubicBezTo>
                    <a:pt x="5" y="0"/>
                    <a:pt x="0" y="5"/>
                    <a:pt x="0" y="11"/>
                  </a:cubicBezTo>
                  <a:cubicBezTo>
                    <a:pt x="0" y="17"/>
                    <a:pt x="5" y="22"/>
                    <a:pt x="11" y="22"/>
                  </a:cubicBezTo>
                  <a:cubicBezTo>
                    <a:pt x="349" y="22"/>
                    <a:pt x="349" y="22"/>
                    <a:pt x="349" y="22"/>
                  </a:cubicBezTo>
                  <a:cubicBezTo>
                    <a:pt x="355" y="22"/>
                    <a:pt x="359" y="17"/>
                    <a:pt x="359" y="11"/>
                  </a:cubicBezTo>
                  <a:cubicBezTo>
                    <a:pt x="359" y="5"/>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7" name="Freeform 64"/>
            <p:cNvSpPr>
              <a:spLocks/>
            </p:cNvSpPr>
            <p:nvPr/>
          </p:nvSpPr>
          <p:spPr bwMode="auto">
            <a:xfrm>
              <a:off x="-2065338" y="3824288"/>
              <a:ext cx="1346200" cy="82550"/>
            </a:xfrm>
            <a:custGeom>
              <a:avLst/>
              <a:gdLst/>
              <a:ahLst/>
              <a:cxnLst>
                <a:cxn ang="0">
                  <a:pos x="349" y="0"/>
                </a:cxn>
                <a:cxn ang="0">
                  <a:pos x="11" y="0"/>
                </a:cxn>
                <a:cxn ang="0">
                  <a:pos x="0" y="11"/>
                </a:cxn>
                <a:cxn ang="0">
                  <a:pos x="11" y="22"/>
                </a:cxn>
                <a:cxn ang="0">
                  <a:pos x="349" y="22"/>
                </a:cxn>
                <a:cxn ang="0">
                  <a:pos x="359" y="11"/>
                </a:cxn>
                <a:cxn ang="0">
                  <a:pos x="349" y="0"/>
                </a:cxn>
              </a:cxnLst>
              <a:rect l="0" t="0" r="r" b="b"/>
              <a:pathLst>
                <a:path w="359" h="22">
                  <a:moveTo>
                    <a:pt x="349" y="0"/>
                  </a:moveTo>
                  <a:cubicBezTo>
                    <a:pt x="11" y="0"/>
                    <a:pt x="11" y="0"/>
                    <a:pt x="11" y="0"/>
                  </a:cubicBezTo>
                  <a:cubicBezTo>
                    <a:pt x="5" y="0"/>
                    <a:pt x="0" y="5"/>
                    <a:pt x="0" y="11"/>
                  </a:cubicBezTo>
                  <a:cubicBezTo>
                    <a:pt x="0" y="17"/>
                    <a:pt x="5" y="22"/>
                    <a:pt x="11" y="22"/>
                  </a:cubicBezTo>
                  <a:cubicBezTo>
                    <a:pt x="349" y="22"/>
                    <a:pt x="349" y="22"/>
                    <a:pt x="349" y="22"/>
                  </a:cubicBezTo>
                  <a:cubicBezTo>
                    <a:pt x="355" y="22"/>
                    <a:pt x="359" y="17"/>
                    <a:pt x="359" y="11"/>
                  </a:cubicBezTo>
                  <a:cubicBezTo>
                    <a:pt x="359" y="5"/>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8" name="Freeform 65"/>
            <p:cNvSpPr>
              <a:spLocks/>
            </p:cNvSpPr>
            <p:nvPr/>
          </p:nvSpPr>
          <p:spPr bwMode="auto">
            <a:xfrm>
              <a:off x="-2065338" y="3498850"/>
              <a:ext cx="1346200" cy="77788"/>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39" name="Freeform 66"/>
            <p:cNvSpPr>
              <a:spLocks/>
            </p:cNvSpPr>
            <p:nvPr/>
          </p:nvSpPr>
          <p:spPr bwMode="auto">
            <a:xfrm>
              <a:off x="-2065338" y="3168650"/>
              <a:ext cx="1346200" cy="77788"/>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40" name="Freeform 67"/>
            <p:cNvSpPr>
              <a:spLocks/>
            </p:cNvSpPr>
            <p:nvPr/>
          </p:nvSpPr>
          <p:spPr bwMode="auto">
            <a:xfrm>
              <a:off x="-2065338" y="2838450"/>
              <a:ext cx="1346200" cy="77788"/>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41" name="Freeform 68"/>
            <p:cNvSpPr>
              <a:spLocks/>
            </p:cNvSpPr>
            <p:nvPr/>
          </p:nvSpPr>
          <p:spPr bwMode="auto">
            <a:xfrm>
              <a:off x="-2065338" y="2508250"/>
              <a:ext cx="1346200" cy="79375"/>
            </a:xfrm>
            <a:custGeom>
              <a:avLst/>
              <a:gdLst/>
              <a:ahLst/>
              <a:cxnLst>
                <a:cxn ang="0">
                  <a:pos x="349" y="0"/>
                </a:cxn>
                <a:cxn ang="0">
                  <a:pos x="11" y="0"/>
                </a:cxn>
                <a:cxn ang="0">
                  <a:pos x="0" y="10"/>
                </a:cxn>
                <a:cxn ang="0">
                  <a:pos x="11" y="21"/>
                </a:cxn>
                <a:cxn ang="0">
                  <a:pos x="349" y="21"/>
                </a:cxn>
                <a:cxn ang="0">
                  <a:pos x="359" y="10"/>
                </a:cxn>
                <a:cxn ang="0">
                  <a:pos x="349" y="0"/>
                </a:cxn>
              </a:cxnLst>
              <a:rect l="0" t="0" r="r" b="b"/>
              <a:pathLst>
                <a:path w="359" h="21">
                  <a:moveTo>
                    <a:pt x="349" y="0"/>
                  </a:moveTo>
                  <a:cubicBezTo>
                    <a:pt x="11" y="0"/>
                    <a:pt x="11" y="0"/>
                    <a:pt x="11" y="0"/>
                  </a:cubicBezTo>
                  <a:cubicBezTo>
                    <a:pt x="5" y="0"/>
                    <a:pt x="0" y="4"/>
                    <a:pt x="0" y="10"/>
                  </a:cubicBezTo>
                  <a:cubicBezTo>
                    <a:pt x="0" y="16"/>
                    <a:pt x="5" y="21"/>
                    <a:pt x="11" y="21"/>
                  </a:cubicBezTo>
                  <a:cubicBezTo>
                    <a:pt x="349" y="21"/>
                    <a:pt x="349" y="21"/>
                    <a:pt x="349" y="21"/>
                  </a:cubicBezTo>
                  <a:cubicBezTo>
                    <a:pt x="355" y="21"/>
                    <a:pt x="359" y="16"/>
                    <a:pt x="359" y="10"/>
                  </a:cubicBezTo>
                  <a:cubicBezTo>
                    <a:pt x="359" y="4"/>
                    <a:pt x="355" y="0"/>
                    <a:pt x="349" y="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sp>
          <p:nvSpPr>
            <p:cNvPr id="42" name="Freeform 69"/>
            <p:cNvSpPr>
              <a:spLocks noEditPoints="1"/>
            </p:cNvSpPr>
            <p:nvPr/>
          </p:nvSpPr>
          <p:spPr bwMode="auto">
            <a:xfrm>
              <a:off x="-3179763" y="1495425"/>
              <a:ext cx="3179763" cy="4121150"/>
            </a:xfrm>
            <a:custGeom>
              <a:avLst/>
              <a:gdLst/>
              <a:ahLst/>
              <a:cxnLst>
                <a:cxn ang="0">
                  <a:pos x="820" y="862"/>
                </a:cxn>
                <a:cxn ang="0">
                  <a:pos x="110" y="754"/>
                </a:cxn>
                <a:cxn ang="0">
                  <a:pos x="169" y="804"/>
                </a:cxn>
                <a:cxn ang="0">
                  <a:pos x="110" y="666"/>
                </a:cxn>
                <a:cxn ang="0">
                  <a:pos x="169" y="716"/>
                </a:cxn>
                <a:cxn ang="0">
                  <a:pos x="110" y="578"/>
                </a:cxn>
                <a:cxn ang="0">
                  <a:pos x="169" y="628"/>
                </a:cxn>
                <a:cxn ang="0">
                  <a:pos x="110" y="490"/>
                </a:cxn>
                <a:cxn ang="0">
                  <a:pos x="169" y="540"/>
                </a:cxn>
                <a:cxn ang="0">
                  <a:pos x="110" y="402"/>
                </a:cxn>
                <a:cxn ang="0">
                  <a:pos x="169" y="452"/>
                </a:cxn>
                <a:cxn ang="0">
                  <a:pos x="110" y="314"/>
                </a:cxn>
                <a:cxn ang="0">
                  <a:pos x="169" y="364"/>
                </a:cxn>
                <a:cxn ang="0">
                  <a:pos x="110" y="226"/>
                </a:cxn>
                <a:cxn ang="0">
                  <a:pos x="169" y="276"/>
                </a:cxn>
                <a:cxn ang="0">
                  <a:pos x="110" y="139"/>
                </a:cxn>
                <a:cxn ang="0">
                  <a:pos x="169" y="189"/>
                </a:cxn>
                <a:cxn ang="0">
                  <a:pos x="214" y="28"/>
                </a:cxn>
                <a:cxn ang="0">
                  <a:pos x="162" y="10"/>
                </a:cxn>
                <a:cxn ang="0">
                  <a:pos x="80" y="109"/>
                </a:cxn>
                <a:cxn ang="0">
                  <a:pos x="0" y="276"/>
                </a:cxn>
                <a:cxn ang="0">
                  <a:pos x="0" y="452"/>
                </a:cxn>
                <a:cxn ang="0">
                  <a:pos x="0" y="628"/>
                </a:cxn>
                <a:cxn ang="0">
                  <a:pos x="0" y="804"/>
                </a:cxn>
                <a:cxn ang="0">
                  <a:pos x="82" y="971"/>
                </a:cxn>
                <a:cxn ang="0">
                  <a:pos x="214" y="1099"/>
                </a:cxn>
                <a:cxn ang="0">
                  <a:pos x="838" y="1019"/>
                </a:cxn>
                <a:cxn ang="0">
                  <a:pos x="848" y="158"/>
                </a:cxn>
                <a:cxn ang="0">
                  <a:pos x="21" y="804"/>
                </a:cxn>
                <a:cxn ang="0">
                  <a:pos x="82" y="863"/>
                </a:cxn>
                <a:cxn ang="0">
                  <a:pos x="80" y="746"/>
                </a:cxn>
                <a:cxn ang="0">
                  <a:pos x="80" y="724"/>
                </a:cxn>
                <a:cxn ang="0">
                  <a:pos x="80" y="708"/>
                </a:cxn>
                <a:cxn ang="0">
                  <a:pos x="80" y="687"/>
                </a:cxn>
                <a:cxn ang="0">
                  <a:pos x="82" y="687"/>
                </a:cxn>
                <a:cxn ang="0">
                  <a:pos x="21" y="628"/>
                </a:cxn>
                <a:cxn ang="0">
                  <a:pos x="82" y="636"/>
                </a:cxn>
                <a:cxn ang="0">
                  <a:pos x="80" y="570"/>
                </a:cxn>
                <a:cxn ang="0">
                  <a:pos x="80" y="548"/>
                </a:cxn>
                <a:cxn ang="0">
                  <a:pos x="80" y="532"/>
                </a:cxn>
                <a:cxn ang="0">
                  <a:pos x="80" y="511"/>
                </a:cxn>
                <a:cxn ang="0">
                  <a:pos x="82" y="511"/>
                </a:cxn>
                <a:cxn ang="0">
                  <a:pos x="21" y="452"/>
                </a:cxn>
                <a:cxn ang="0">
                  <a:pos x="82" y="461"/>
                </a:cxn>
                <a:cxn ang="0">
                  <a:pos x="80" y="394"/>
                </a:cxn>
                <a:cxn ang="0">
                  <a:pos x="80" y="373"/>
                </a:cxn>
                <a:cxn ang="0">
                  <a:pos x="80" y="356"/>
                </a:cxn>
                <a:cxn ang="0">
                  <a:pos x="80" y="335"/>
                </a:cxn>
                <a:cxn ang="0">
                  <a:pos x="82" y="335"/>
                </a:cxn>
                <a:cxn ang="0">
                  <a:pos x="21" y="276"/>
                </a:cxn>
                <a:cxn ang="0">
                  <a:pos x="82" y="285"/>
                </a:cxn>
                <a:cxn ang="0">
                  <a:pos x="80" y="218"/>
                </a:cxn>
                <a:cxn ang="0">
                  <a:pos x="82" y="197"/>
                </a:cxn>
                <a:cxn ang="0">
                  <a:pos x="80" y="130"/>
                </a:cxn>
                <a:cxn ang="0">
                  <a:pos x="214" y="993"/>
                </a:cxn>
                <a:cxn ang="0">
                  <a:pos x="717" y="1004"/>
                </a:cxn>
                <a:cxn ang="0">
                  <a:pos x="717" y="1071"/>
                </a:cxn>
                <a:cxn ang="0">
                  <a:pos x="214" y="1061"/>
                </a:cxn>
                <a:cxn ang="0">
                  <a:pos x="717" y="1071"/>
                </a:cxn>
                <a:cxn ang="0">
                  <a:pos x="123" y="988"/>
                </a:cxn>
                <a:cxn ang="0">
                  <a:pos x="767" y="1016"/>
                </a:cxn>
              </a:cxnLst>
              <a:rect l="0" t="0" r="r" b="b"/>
              <a:pathLst>
                <a:path w="848" h="1099">
                  <a:moveTo>
                    <a:pt x="820" y="158"/>
                  </a:moveTo>
                  <a:cubicBezTo>
                    <a:pt x="820" y="732"/>
                    <a:pt x="820" y="732"/>
                    <a:pt x="820" y="732"/>
                  </a:cubicBezTo>
                  <a:cubicBezTo>
                    <a:pt x="820" y="732"/>
                    <a:pt x="820" y="732"/>
                    <a:pt x="820" y="732"/>
                  </a:cubicBezTo>
                  <a:cubicBezTo>
                    <a:pt x="820" y="862"/>
                    <a:pt x="820" y="862"/>
                    <a:pt x="820" y="862"/>
                  </a:cubicBezTo>
                  <a:cubicBezTo>
                    <a:pt x="820" y="918"/>
                    <a:pt x="774" y="965"/>
                    <a:pt x="717" y="965"/>
                  </a:cubicBezTo>
                  <a:cubicBezTo>
                    <a:pt x="214" y="965"/>
                    <a:pt x="214" y="965"/>
                    <a:pt x="214" y="965"/>
                  </a:cubicBezTo>
                  <a:cubicBezTo>
                    <a:pt x="157" y="965"/>
                    <a:pt x="110" y="918"/>
                    <a:pt x="110" y="862"/>
                  </a:cubicBezTo>
                  <a:cubicBezTo>
                    <a:pt x="110" y="754"/>
                    <a:pt x="110" y="754"/>
                    <a:pt x="110" y="754"/>
                  </a:cubicBezTo>
                  <a:cubicBezTo>
                    <a:pt x="124" y="762"/>
                    <a:pt x="133" y="775"/>
                    <a:pt x="137" y="791"/>
                  </a:cubicBezTo>
                  <a:cubicBezTo>
                    <a:pt x="133" y="794"/>
                    <a:pt x="131" y="799"/>
                    <a:pt x="131" y="804"/>
                  </a:cubicBezTo>
                  <a:cubicBezTo>
                    <a:pt x="131" y="814"/>
                    <a:pt x="140" y="823"/>
                    <a:pt x="150" y="823"/>
                  </a:cubicBezTo>
                  <a:cubicBezTo>
                    <a:pt x="160" y="823"/>
                    <a:pt x="169" y="814"/>
                    <a:pt x="169" y="804"/>
                  </a:cubicBezTo>
                  <a:cubicBezTo>
                    <a:pt x="169" y="796"/>
                    <a:pt x="164" y="790"/>
                    <a:pt x="158" y="787"/>
                  </a:cubicBezTo>
                  <a:cubicBezTo>
                    <a:pt x="155" y="772"/>
                    <a:pt x="147" y="759"/>
                    <a:pt x="136" y="748"/>
                  </a:cubicBezTo>
                  <a:cubicBezTo>
                    <a:pt x="129" y="740"/>
                    <a:pt x="120" y="734"/>
                    <a:pt x="110" y="730"/>
                  </a:cubicBezTo>
                  <a:cubicBezTo>
                    <a:pt x="110" y="666"/>
                    <a:pt x="110" y="666"/>
                    <a:pt x="110" y="666"/>
                  </a:cubicBezTo>
                  <a:cubicBezTo>
                    <a:pt x="124" y="674"/>
                    <a:pt x="133" y="687"/>
                    <a:pt x="137" y="703"/>
                  </a:cubicBezTo>
                  <a:cubicBezTo>
                    <a:pt x="133" y="706"/>
                    <a:pt x="131" y="711"/>
                    <a:pt x="131" y="716"/>
                  </a:cubicBezTo>
                  <a:cubicBezTo>
                    <a:pt x="131" y="727"/>
                    <a:pt x="140" y="735"/>
                    <a:pt x="150" y="735"/>
                  </a:cubicBezTo>
                  <a:cubicBezTo>
                    <a:pt x="160" y="735"/>
                    <a:pt x="169" y="727"/>
                    <a:pt x="169" y="716"/>
                  </a:cubicBezTo>
                  <a:cubicBezTo>
                    <a:pt x="169" y="709"/>
                    <a:pt x="164" y="702"/>
                    <a:pt x="158" y="699"/>
                  </a:cubicBezTo>
                  <a:cubicBezTo>
                    <a:pt x="155" y="684"/>
                    <a:pt x="147" y="671"/>
                    <a:pt x="136" y="660"/>
                  </a:cubicBezTo>
                  <a:cubicBezTo>
                    <a:pt x="129" y="652"/>
                    <a:pt x="120" y="646"/>
                    <a:pt x="110" y="642"/>
                  </a:cubicBezTo>
                  <a:cubicBezTo>
                    <a:pt x="110" y="578"/>
                    <a:pt x="110" y="578"/>
                    <a:pt x="110" y="578"/>
                  </a:cubicBezTo>
                  <a:cubicBezTo>
                    <a:pt x="124" y="586"/>
                    <a:pt x="133" y="599"/>
                    <a:pt x="137" y="615"/>
                  </a:cubicBezTo>
                  <a:cubicBezTo>
                    <a:pt x="133" y="618"/>
                    <a:pt x="131" y="623"/>
                    <a:pt x="131" y="628"/>
                  </a:cubicBezTo>
                  <a:cubicBezTo>
                    <a:pt x="131" y="639"/>
                    <a:pt x="140" y="647"/>
                    <a:pt x="150" y="647"/>
                  </a:cubicBezTo>
                  <a:cubicBezTo>
                    <a:pt x="160" y="647"/>
                    <a:pt x="169" y="639"/>
                    <a:pt x="169" y="628"/>
                  </a:cubicBezTo>
                  <a:cubicBezTo>
                    <a:pt x="169" y="621"/>
                    <a:pt x="164" y="614"/>
                    <a:pt x="158" y="611"/>
                  </a:cubicBezTo>
                  <a:cubicBezTo>
                    <a:pt x="155" y="596"/>
                    <a:pt x="147" y="583"/>
                    <a:pt x="136" y="572"/>
                  </a:cubicBezTo>
                  <a:cubicBezTo>
                    <a:pt x="129" y="564"/>
                    <a:pt x="120" y="558"/>
                    <a:pt x="110" y="555"/>
                  </a:cubicBezTo>
                  <a:cubicBezTo>
                    <a:pt x="110" y="490"/>
                    <a:pt x="110" y="490"/>
                    <a:pt x="110" y="490"/>
                  </a:cubicBezTo>
                  <a:cubicBezTo>
                    <a:pt x="124" y="498"/>
                    <a:pt x="133" y="511"/>
                    <a:pt x="137" y="527"/>
                  </a:cubicBezTo>
                  <a:cubicBezTo>
                    <a:pt x="133" y="530"/>
                    <a:pt x="131" y="535"/>
                    <a:pt x="131" y="540"/>
                  </a:cubicBezTo>
                  <a:cubicBezTo>
                    <a:pt x="131" y="551"/>
                    <a:pt x="140" y="559"/>
                    <a:pt x="150" y="559"/>
                  </a:cubicBezTo>
                  <a:cubicBezTo>
                    <a:pt x="160" y="559"/>
                    <a:pt x="169" y="551"/>
                    <a:pt x="169" y="540"/>
                  </a:cubicBezTo>
                  <a:cubicBezTo>
                    <a:pt x="169" y="533"/>
                    <a:pt x="164" y="526"/>
                    <a:pt x="158" y="523"/>
                  </a:cubicBezTo>
                  <a:cubicBezTo>
                    <a:pt x="155" y="508"/>
                    <a:pt x="147" y="495"/>
                    <a:pt x="136" y="484"/>
                  </a:cubicBezTo>
                  <a:cubicBezTo>
                    <a:pt x="129" y="476"/>
                    <a:pt x="120" y="471"/>
                    <a:pt x="110" y="467"/>
                  </a:cubicBezTo>
                  <a:cubicBezTo>
                    <a:pt x="110" y="402"/>
                    <a:pt x="110" y="402"/>
                    <a:pt x="110" y="402"/>
                  </a:cubicBezTo>
                  <a:cubicBezTo>
                    <a:pt x="124" y="410"/>
                    <a:pt x="133" y="424"/>
                    <a:pt x="137" y="439"/>
                  </a:cubicBezTo>
                  <a:cubicBezTo>
                    <a:pt x="133" y="442"/>
                    <a:pt x="131" y="447"/>
                    <a:pt x="131" y="452"/>
                  </a:cubicBezTo>
                  <a:cubicBezTo>
                    <a:pt x="131" y="463"/>
                    <a:pt x="140" y="471"/>
                    <a:pt x="150" y="471"/>
                  </a:cubicBezTo>
                  <a:cubicBezTo>
                    <a:pt x="160" y="471"/>
                    <a:pt x="169" y="463"/>
                    <a:pt x="169" y="452"/>
                  </a:cubicBezTo>
                  <a:cubicBezTo>
                    <a:pt x="169" y="445"/>
                    <a:pt x="164" y="438"/>
                    <a:pt x="158" y="435"/>
                  </a:cubicBezTo>
                  <a:cubicBezTo>
                    <a:pt x="155" y="420"/>
                    <a:pt x="147" y="407"/>
                    <a:pt x="136" y="396"/>
                  </a:cubicBezTo>
                  <a:cubicBezTo>
                    <a:pt x="129" y="388"/>
                    <a:pt x="120" y="383"/>
                    <a:pt x="110" y="379"/>
                  </a:cubicBezTo>
                  <a:cubicBezTo>
                    <a:pt x="110" y="314"/>
                    <a:pt x="110" y="314"/>
                    <a:pt x="110" y="314"/>
                  </a:cubicBezTo>
                  <a:cubicBezTo>
                    <a:pt x="124" y="323"/>
                    <a:pt x="133" y="336"/>
                    <a:pt x="137" y="351"/>
                  </a:cubicBezTo>
                  <a:cubicBezTo>
                    <a:pt x="133" y="354"/>
                    <a:pt x="131" y="359"/>
                    <a:pt x="131" y="364"/>
                  </a:cubicBezTo>
                  <a:cubicBezTo>
                    <a:pt x="131" y="375"/>
                    <a:pt x="140" y="383"/>
                    <a:pt x="150" y="383"/>
                  </a:cubicBezTo>
                  <a:cubicBezTo>
                    <a:pt x="160" y="383"/>
                    <a:pt x="169" y="375"/>
                    <a:pt x="169" y="364"/>
                  </a:cubicBezTo>
                  <a:cubicBezTo>
                    <a:pt x="169" y="357"/>
                    <a:pt x="164" y="350"/>
                    <a:pt x="158" y="347"/>
                  </a:cubicBezTo>
                  <a:cubicBezTo>
                    <a:pt x="155" y="333"/>
                    <a:pt x="147" y="319"/>
                    <a:pt x="136" y="308"/>
                  </a:cubicBezTo>
                  <a:cubicBezTo>
                    <a:pt x="129" y="300"/>
                    <a:pt x="120" y="295"/>
                    <a:pt x="110" y="291"/>
                  </a:cubicBezTo>
                  <a:cubicBezTo>
                    <a:pt x="110" y="226"/>
                    <a:pt x="110" y="226"/>
                    <a:pt x="110" y="226"/>
                  </a:cubicBezTo>
                  <a:cubicBezTo>
                    <a:pt x="124" y="235"/>
                    <a:pt x="133" y="248"/>
                    <a:pt x="137" y="263"/>
                  </a:cubicBezTo>
                  <a:cubicBezTo>
                    <a:pt x="133" y="267"/>
                    <a:pt x="131" y="271"/>
                    <a:pt x="131" y="276"/>
                  </a:cubicBezTo>
                  <a:cubicBezTo>
                    <a:pt x="131" y="287"/>
                    <a:pt x="140" y="295"/>
                    <a:pt x="150" y="295"/>
                  </a:cubicBezTo>
                  <a:cubicBezTo>
                    <a:pt x="160" y="295"/>
                    <a:pt x="169" y="287"/>
                    <a:pt x="169" y="276"/>
                  </a:cubicBezTo>
                  <a:cubicBezTo>
                    <a:pt x="169" y="269"/>
                    <a:pt x="164" y="262"/>
                    <a:pt x="158" y="259"/>
                  </a:cubicBezTo>
                  <a:cubicBezTo>
                    <a:pt x="155" y="245"/>
                    <a:pt x="147" y="231"/>
                    <a:pt x="136" y="220"/>
                  </a:cubicBezTo>
                  <a:cubicBezTo>
                    <a:pt x="129" y="213"/>
                    <a:pt x="120" y="207"/>
                    <a:pt x="110" y="203"/>
                  </a:cubicBezTo>
                  <a:cubicBezTo>
                    <a:pt x="110" y="139"/>
                    <a:pt x="110" y="139"/>
                    <a:pt x="110" y="139"/>
                  </a:cubicBezTo>
                  <a:cubicBezTo>
                    <a:pt x="124" y="147"/>
                    <a:pt x="133" y="160"/>
                    <a:pt x="137" y="175"/>
                  </a:cubicBezTo>
                  <a:cubicBezTo>
                    <a:pt x="133" y="179"/>
                    <a:pt x="131" y="183"/>
                    <a:pt x="131" y="189"/>
                  </a:cubicBezTo>
                  <a:cubicBezTo>
                    <a:pt x="131" y="199"/>
                    <a:pt x="140" y="207"/>
                    <a:pt x="150" y="207"/>
                  </a:cubicBezTo>
                  <a:cubicBezTo>
                    <a:pt x="160" y="207"/>
                    <a:pt x="169" y="199"/>
                    <a:pt x="169" y="189"/>
                  </a:cubicBezTo>
                  <a:cubicBezTo>
                    <a:pt x="169" y="181"/>
                    <a:pt x="164" y="174"/>
                    <a:pt x="158" y="171"/>
                  </a:cubicBezTo>
                  <a:cubicBezTo>
                    <a:pt x="155" y="157"/>
                    <a:pt x="147" y="143"/>
                    <a:pt x="136" y="132"/>
                  </a:cubicBezTo>
                  <a:cubicBezTo>
                    <a:pt x="129" y="125"/>
                    <a:pt x="121" y="119"/>
                    <a:pt x="112" y="115"/>
                  </a:cubicBezTo>
                  <a:cubicBezTo>
                    <a:pt x="119" y="66"/>
                    <a:pt x="162" y="28"/>
                    <a:pt x="214" y="28"/>
                  </a:cubicBezTo>
                  <a:cubicBezTo>
                    <a:pt x="682" y="28"/>
                    <a:pt x="682" y="28"/>
                    <a:pt x="682" y="28"/>
                  </a:cubicBezTo>
                  <a:cubicBezTo>
                    <a:pt x="682" y="0"/>
                    <a:pt x="682" y="0"/>
                    <a:pt x="682" y="0"/>
                  </a:cubicBezTo>
                  <a:cubicBezTo>
                    <a:pt x="214" y="0"/>
                    <a:pt x="214" y="0"/>
                    <a:pt x="214" y="0"/>
                  </a:cubicBezTo>
                  <a:cubicBezTo>
                    <a:pt x="196" y="0"/>
                    <a:pt x="179" y="3"/>
                    <a:pt x="162" y="10"/>
                  </a:cubicBezTo>
                  <a:cubicBezTo>
                    <a:pt x="147" y="17"/>
                    <a:pt x="133" y="26"/>
                    <a:pt x="121" y="38"/>
                  </a:cubicBezTo>
                  <a:cubicBezTo>
                    <a:pt x="109" y="50"/>
                    <a:pt x="99" y="64"/>
                    <a:pt x="92" y="80"/>
                  </a:cubicBezTo>
                  <a:cubicBezTo>
                    <a:pt x="89" y="89"/>
                    <a:pt x="86" y="99"/>
                    <a:pt x="84" y="109"/>
                  </a:cubicBezTo>
                  <a:cubicBezTo>
                    <a:pt x="83" y="109"/>
                    <a:pt x="81" y="109"/>
                    <a:pt x="80" y="109"/>
                  </a:cubicBezTo>
                  <a:cubicBezTo>
                    <a:pt x="59" y="109"/>
                    <a:pt x="39" y="117"/>
                    <a:pt x="23" y="132"/>
                  </a:cubicBezTo>
                  <a:cubicBezTo>
                    <a:pt x="8" y="147"/>
                    <a:pt x="0" y="167"/>
                    <a:pt x="0" y="189"/>
                  </a:cubicBezTo>
                  <a:cubicBezTo>
                    <a:pt x="0" y="204"/>
                    <a:pt x="5" y="220"/>
                    <a:pt x="13" y="233"/>
                  </a:cubicBezTo>
                  <a:cubicBezTo>
                    <a:pt x="5" y="245"/>
                    <a:pt x="0" y="261"/>
                    <a:pt x="0" y="276"/>
                  </a:cubicBezTo>
                  <a:cubicBezTo>
                    <a:pt x="0" y="292"/>
                    <a:pt x="5" y="308"/>
                    <a:pt x="13" y="320"/>
                  </a:cubicBezTo>
                  <a:cubicBezTo>
                    <a:pt x="5" y="333"/>
                    <a:pt x="0" y="349"/>
                    <a:pt x="0" y="364"/>
                  </a:cubicBezTo>
                  <a:cubicBezTo>
                    <a:pt x="0" y="380"/>
                    <a:pt x="5" y="395"/>
                    <a:pt x="13" y="408"/>
                  </a:cubicBezTo>
                  <a:cubicBezTo>
                    <a:pt x="5" y="421"/>
                    <a:pt x="0" y="436"/>
                    <a:pt x="0" y="452"/>
                  </a:cubicBezTo>
                  <a:cubicBezTo>
                    <a:pt x="0" y="468"/>
                    <a:pt x="5" y="483"/>
                    <a:pt x="13" y="496"/>
                  </a:cubicBezTo>
                  <a:cubicBezTo>
                    <a:pt x="5" y="509"/>
                    <a:pt x="0" y="524"/>
                    <a:pt x="0" y="540"/>
                  </a:cubicBezTo>
                  <a:cubicBezTo>
                    <a:pt x="0" y="556"/>
                    <a:pt x="5" y="571"/>
                    <a:pt x="13" y="584"/>
                  </a:cubicBezTo>
                  <a:cubicBezTo>
                    <a:pt x="5" y="597"/>
                    <a:pt x="0" y="612"/>
                    <a:pt x="0" y="628"/>
                  </a:cubicBezTo>
                  <a:cubicBezTo>
                    <a:pt x="0" y="644"/>
                    <a:pt x="5" y="659"/>
                    <a:pt x="13" y="672"/>
                  </a:cubicBezTo>
                  <a:cubicBezTo>
                    <a:pt x="5" y="685"/>
                    <a:pt x="0" y="700"/>
                    <a:pt x="0" y="716"/>
                  </a:cubicBezTo>
                  <a:cubicBezTo>
                    <a:pt x="0" y="732"/>
                    <a:pt x="5" y="747"/>
                    <a:pt x="13" y="760"/>
                  </a:cubicBezTo>
                  <a:cubicBezTo>
                    <a:pt x="5" y="773"/>
                    <a:pt x="0" y="788"/>
                    <a:pt x="0" y="804"/>
                  </a:cubicBezTo>
                  <a:cubicBezTo>
                    <a:pt x="0" y="825"/>
                    <a:pt x="8" y="845"/>
                    <a:pt x="23" y="861"/>
                  </a:cubicBezTo>
                  <a:cubicBezTo>
                    <a:pt x="39" y="876"/>
                    <a:pt x="59" y="884"/>
                    <a:pt x="80" y="884"/>
                  </a:cubicBezTo>
                  <a:cubicBezTo>
                    <a:pt x="80" y="884"/>
                    <a:pt x="81" y="884"/>
                    <a:pt x="82" y="884"/>
                  </a:cubicBezTo>
                  <a:cubicBezTo>
                    <a:pt x="82" y="884"/>
                    <a:pt x="82" y="970"/>
                    <a:pt x="82" y="971"/>
                  </a:cubicBezTo>
                  <a:cubicBezTo>
                    <a:pt x="83" y="988"/>
                    <a:pt x="86" y="1004"/>
                    <a:pt x="92" y="1019"/>
                  </a:cubicBezTo>
                  <a:cubicBezTo>
                    <a:pt x="99" y="1035"/>
                    <a:pt x="109" y="1049"/>
                    <a:pt x="121" y="1061"/>
                  </a:cubicBezTo>
                  <a:cubicBezTo>
                    <a:pt x="133" y="1073"/>
                    <a:pt x="147" y="1083"/>
                    <a:pt x="162" y="1089"/>
                  </a:cubicBezTo>
                  <a:cubicBezTo>
                    <a:pt x="179" y="1096"/>
                    <a:pt x="196" y="1099"/>
                    <a:pt x="214" y="1099"/>
                  </a:cubicBezTo>
                  <a:cubicBezTo>
                    <a:pt x="717" y="1099"/>
                    <a:pt x="717" y="1099"/>
                    <a:pt x="717" y="1099"/>
                  </a:cubicBezTo>
                  <a:cubicBezTo>
                    <a:pt x="734" y="1099"/>
                    <a:pt x="752" y="1096"/>
                    <a:pt x="768" y="1089"/>
                  </a:cubicBezTo>
                  <a:cubicBezTo>
                    <a:pt x="784" y="1083"/>
                    <a:pt x="798" y="1073"/>
                    <a:pt x="810" y="1061"/>
                  </a:cubicBezTo>
                  <a:cubicBezTo>
                    <a:pt x="822" y="1049"/>
                    <a:pt x="831" y="1035"/>
                    <a:pt x="838" y="1019"/>
                  </a:cubicBezTo>
                  <a:cubicBezTo>
                    <a:pt x="845" y="1003"/>
                    <a:pt x="848" y="986"/>
                    <a:pt x="848" y="968"/>
                  </a:cubicBezTo>
                  <a:cubicBezTo>
                    <a:pt x="848" y="862"/>
                    <a:pt x="848" y="862"/>
                    <a:pt x="848" y="862"/>
                  </a:cubicBezTo>
                  <a:cubicBezTo>
                    <a:pt x="848" y="862"/>
                    <a:pt x="848" y="862"/>
                    <a:pt x="848" y="862"/>
                  </a:cubicBezTo>
                  <a:cubicBezTo>
                    <a:pt x="848" y="158"/>
                    <a:pt x="848" y="158"/>
                    <a:pt x="848" y="158"/>
                  </a:cubicBezTo>
                  <a:lnTo>
                    <a:pt x="820" y="158"/>
                  </a:lnTo>
                  <a:close/>
                  <a:moveTo>
                    <a:pt x="82" y="863"/>
                  </a:moveTo>
                  <a:cubicBezTo>
                    <a:pt x="81" y="863"/>
                    <a:pt x="80" y="863"/>
                    <a:pt x="80" y="863"/>
                  </a:cubicBezTo>
                  <a:cubicBezTo>
                    <a:pt x="48" y="863"/>
                    <a:pt x="21" y="836"/>
                    <a:pt x="21" y="804"/>
                  </a:cubicBezTo>
                  <a:cubicBezTo>
                    <a:pt x="21" y="794"/>
                    <a:pt x="24" y="785"/>
                    <a:pt x="28" y="777"/>
                  </a:cubicBezTo>
                  <a:cubicBezTo>
                    <a:pt x="42" y="789"/>
                    <a:pt x="61" y="796"/>
                    <a:pt x="80" y="796"/>
                  </a:cubicBezTo>
                  <a:cubicBezTo>
                    <a:pt x="80" y="796"/>
                    <a:pt x="81" y="796"/>
                    <a:pt x="82" y="796"/>
                  </a:cubicBezTo>
                  <a:lnTo>
                    <a:pt x="82" y="863"/>
                  </a:lnTo>
                  <a:close/>
                  <a:moveTo>
                    <a:pt x="82" y="775"/>
                  </a:moveTo>
                  <a:cubicBezTo>
                    <a:pt x="81" y="775"/>
                    <a:pt x="80" y="775"/>
                    <a:pt x="80" y="775"/>
                  </a:cubicBezTo>
                  <a:cubicBezTo>
                    <a:pt x="65" y="775"/>
                    <a:pt x="51" y="769"/>
                    <a:pt x="41" y="760"/>
                  </a:cubicBezTo>
                  <a:cubicBezTo>
                    <a:pt x="51" y="751"/>
                    <a:pt x="65" y="746"/>
                    <a:pt x="80" y="746"/>
                  </a:cubicBezTo>
                  <a:cubicBezTo>
                    <a:pt x="81" y="746"/>
                    <a:pt x="81" y="746"/>
                    <a:pt x="82" y="746"/>
                  </a:cubicBezTo>
                  <a:lnTo>
                    <a:pt x="82" y="775"/>
                  </a:lnTo>
                  <a:close/>
                  <a:moveTo>
                    <a:pt x="82" y="724"/>
                  </a:moveTo>
                  <a:cubicBezTo>
                    <a:pt x="81" y="724"/>
                    <a:pt x="81" y="724"/>
                    <a:pt x="80" y="724"/>
                  </a:cubicBezTo>
                  <a:cubicBezTo>
                    <a:pt x="61" y="724"/>
                    <a:pt x="42" y="731"/>
                    <a:pt x="28" y="743"/>
                  </a:cubicBezTo>
                  <a:cubicBezTo>
                    <a:pt x="24" y="735"/>
                    <a:pt x="21" y="726"/>
                    <a:pt x="21" y="716"/>
                  </a:cubicBezTo>
                  <a:cubicBezTo>
                    <a:pt x="21" y="706"/>
                    <a:pt x="24" y="697"/>
                    <a:pt x="28" y="689"/>
                  </a:cubicBezTo>
                  <a:cubicBezTo>
                    <a:pt x="42" y="701"/>
                    <a:pt x="61" y="708"/>
                    <a:pt x="80" y="708"/>
                  </a:cubicBezTo>
                  <a:cubicBezTo>
                    <a:pt x="81" y="708"/>
                    <a:pt x="81" y="708"/>
                    <a:pt x="82" y="708"/>
                  </a:cubicBezTo>
                  <a:lnTo>
                    <a:pt x="82" y="724"/>
                  </a:lnTo>
                  <a:close/>
                  <a:moveTo>
                    <a:pt x="82" y="687"/>
                  </a:moveTo>
                  <a:cubicBezTo>
                    <a:pt x="81" y="687"/>
                    <a:pt x="81" y="687"/>
                    <a:pt x="80" y="687"/>
                  </a:cubicBezTo>
                  <a:cubicBezTo>
                    <a:pt x="65" y="687"/>
                    <a:pt x="51" y="681"/>
                    <a:pt x="41" y="672"/>
                  </a:cubicBezTo>
                  <a:cubicBezTo>
                    <a:pt x="51" y="663"/>
                    <a:pt x="65" y="658"/>
                    <a:pt x="80" y="658"/>
                  </a:cubicBezTo>
                  <a:cubicBezTo>
                    <a:pt x="81" y="658"/>
                    <a:pt x="81" y="658"/>
                    <a:pt x="82" y="658"/>
                  </a:cubicBezTo>
                  <a:lnTo>
                    <a:pt x="82" y="687"/>
                  </a:lnTo>
                  <a:close/>
                  <a:moveTo>
                    <a:pt x="82" y="636"/>
                  </a:moveTo>
                  <a:cubicBezTo>
                    <a:pt x="81" y="636"/>
                    <a:pt x="81" y="636"/>
                    <a:pt x="80" y="636"/>
                  </a:cubicBezTo>
                  <a:cubicBezTo>
                    <a:pt x="61" y="636"/>
                    <a:pt x="42" y="643"/>
                    <a:pt x="28" y="656"/>
                  </a:cubicBezTo>
                  <a:cubicBezTo>
                    <a:pt x="24" y="647"/>
                    <a:pt x="21" y="638"/>
                    <a:pt x="21" y="628"/>
                  </a:cubicBezTo>
                  <a:cubicBezTo>
                    <a:pt x="21" y="618"/>
                    <a:pt x="24" y="609"/>
                    <a:pt x="28" y="601"/>
                  </a:cubicBezTo>
                  <a:cubicBezTo>
                    <a:pt x="42" y="613"/>
                    <a:pt x="61" y="620"/>
                    <a:pt x="80" y="620"/>
                  </a:cubicBezTo>
                  <a:cubicBezTo>
                    <a:pt x="81" y="620"/>
                    <a:pt x="81" y="620"/>
                    <a:pt x="82" y="620"/>
                  </a:cubicBezTo>
                  <a:lnTo>
                    <a:pt x="82" y="636"/>
                  </a:lnTo>
                  <a:close/>
                  <a:moveTo>
                    <a:pt x="82" y="599"/>
                  </a:moveTo>
                  <a:cubicBezTo>
                    <a:pt x="81" y="599"/>
                    <a:pt x="81" y="599"/>
                    <a:pt x="80" y="599"/>
                  </a:cubicBezTo>
                  <a:cubicBezTo>
                    <a:pt x="65" y="599"/>
                    <a:pt x="51" y="593"/>
                    <a:pt x="41" y="584"/>
                  </a:cubicBezTo>
                  <a:cubicBezTo>
                    <a:pt x="51" y="575"/>
                    <a:pt x="65" y="570"/>
                    <a:pt x="80" y="570"/>
                  </a:cubicBezTo>
                  <a:cubicBezTo>
                    <a:pt x="81" y="570"/>
                    <a:pt x="81" y="570"/>
                    <a:pt x="82" y="570"/>
                  </a:cubicBezTo>
                  <a:lnTo>
                    <a:pt x="82" y="599"/>
                  </a:lnTo>
                  <a:close/>
                  <a:moveTo>
                    <a:pt x="82" y="549"/>
                  </a:moveTo>
                  <a:cubicBezTo>
                    <a:pt x="81" y="548"/>
                    <a:pt x="81" y="548"/>
                    <a:pt x="80" y="548"/>
                  </a:cubicBezTo>
                  <a:cubicBezTo>
                    <a:pt x="61" y="548"/>
                    <a:pt x="42" y="555"/>
                    <a:pt x="28" y="568"/>
                  </a:cubicBezTo>
                  <a:cubicBezTo>
                    <a:pt x="24" y="559"/>
                    <a:pt x="21" y="550"/>
                    <a:pt x="21" y="540"/>
                  </a:cubicBezTo>
                  <a:cubicBezTo>
                    <a:pt x="21" y="530"/>
                    <a:pt x="24" y="521"/>
                    <a:pt x="28" y="513"/>
                  </a:cubicBezTo>
                  <a:cubicBezTo>
                    <a:pt x="42" y="525"/>
                    <a:pt x="61" y="532"/>
                    <a:pt x="80" y="532"/>
                  </a:cubicBezTo>
                  <a:cubicBezTo>
                    <a:pt x="81" y="532"/>
                    <a:pt x="81" y="532"/>
                    <a:pt x="82" y="532"/>
                  </a:cubicBezTo>
                  <a:lnTo>
                    <a:pt x="82" y="549"/>
                  </a:lnTo>
                  <a:close/>
                  <a:moveTo>
                    <a:pt x="82" y="511"/>
                  </a:moveTo>
                  <a:cubicBezTo>
                    <a:pt x="81" y="511"/>
                    <a:pt x="81" y="511"/>
                    <a:pt x="80" y="511"/>
                  </a:cubicBezTo>
                  <a:cubicBezTo>
                    <a:pt x="65" y="511"/>
                    <a:pt x="51" y="505"/>
                    <a:pt x="41" y="496"/>
                  </a:cubicBezTo>
                  <a:cubicBezTo>
                    <a:pt x="51" y="487"/>
                    <a:pt x="65" y="482"/>
                    <a:pt x="80" y="482"/>
                  </a:cubicBezTo>
                  <a:cubicBezTo>
                    <a:pt x="81" y="482"/>
                    <a:pt x="81" y="482"/>
                    <a:pt x="82" y="482"/>
                  </a:cubicBezTo>
                  <a:lnTo>
                    <a:pt x="82" y="511"/>
                  </a:lnTo>
                  <a:close/>
                  <a:moveTo>
                    <a:pt x="82" y="461"/>
                  </a:moveTo>
                  <a:cubicBezTo>
                    <a:pt x="81" y="461"/>
                    <a:pt x="81" y="461"/>
                    <a:pt x="80" y="461"/>
                  </a:cubicBezTo>
                  <a:cubicBezTo>
                    <a:pt x="61" y="461"/>
                    <a:pt x="42" y="467"/>
                    <a:pt x="28" y="480"/>
                  </a:cubicBezTo>
                  <a:cubicBezTo>
                    <a:pt x="24" y="471"/>
                    <a:pt x="21" y="462"/>
                    <a:pt x="21" y="452"/>
                  </a:cubicBezTo>
                  <a:cubicBezTo>
                    <a:pt x="21" y="442"/>
                    <a:pt x="24" y="433"/>
                    <a:pt x="28" y="425"/>
                  </a:cubicBezTo>
                  <a:cubicBezTo>
                    <a:pt x="42" y="437"/>
                    <a:pt x="61" y="444"/>
                    <a:pt x="80" y="444"/>
                  </a:cubicBezTo>
                  <a:cubicBezTo>
                    <a:pt x="81" y="444"/>
                    <a:pt x="81" y="444"/>
                    <a:pt x="82" y="444"/>
                  </a:cubicBezTo>
                  <a:lnTo>
                    <a:pt x="82" y="461"/>
                  </a:lnTo>
                  <a:close/>
                  <a:moveTo>
                    <a:pt x="82" y="423"/>
                  </a:moveTo>
                  <a:cubicBezTo>
                    <a:pt x="81" y="423"/>
                    <a:pt x="81" y="423"/>
                    <a:pt x="80" y="423"/>
                  </a:cubicBezTo>
                  <a:cubicBezTo>
                    <a:pt x="65" y="423"/>
                    <a:pt x="51" y="417"/>
                    <a:pt x="41" y="408"/>
                  </a:cubicBezTo>
                  <a:cubicBezTo>
                    <a:pt x="51" y="399"/>
                    <a:pt x="65" y="394"/>
                    <a:pt x="80" y="394"/>
                  </a:cubicBezTo>
                  <a:cubicBezTo>
                    <a:pt x="81" y="394"/>
                    <a:pt x="81" y="394"/>
                    <a:pt x="82" y="394"/>
                  </a:cubicBezTo>
                  <a:lnTo>
                    <a:pt x="82" y="423"/>
                  </a:lnTo>
                  <a:close/>
                  <a:moveTo>
                    <a:pt x="82" y="373"/>
                  </a:moveTo>
                  <a:cubicBezTo>
                    <a:pt x="81" y="373"/>
                    <a:pt x="81" y="373"/>
                    <a:pt x="80" y="373"/>
                  </a:cubicBezTo>
                  <a:cubicBezTo>
                    <a:pt x="61" y="373"/>
                    <a:pt x="42" y="379"/>
                    <a:pt x="28" y="392"/>
                  </a:cubicBezTo>
                  <a:cubicBezTo>
                    <a:pt x="24" y="384"/>
                    <a:pt x="21" y="374"/>
                    <a:pt x="21" y="364"/>
                  </a:cubicBezTo>
                  <a:cubicBezTo>
                    <a:pt x="21" y="355"/>
                    <a:pt x="24" y="345"/>
                    <a:pt x="28" y="337"/>
                  </a:cubicBezTo>
                  <a:cubicBezTo>
                    <a:pt x="42" y="349"/>
                    <a:pt x="61" y="356"/>
                    <a:pt x="80" y="356"/>
                  </a:cubicBezTo>
                  <a:cubicBezTo>
                    <a:pt x="81" y="356"/>
                    <a:pt x="81" y="356"/>
                    <a:pt x="82" y="356"/>
                  </a:cubicBezTo>
                  <a:lnTo>
                    <a:pt x="82" y="373"/>
                  </a:lnTo>
                  <a:close/>
                  <a:moveTo>
                    <a:pt x="82" y="335"/>
                  </a:moveTo>
                  <a:cubicBezTo>
                    <a:pt x="81" y="335"/>
                    <a:pt x="81" y="335"/>
                    <a:pt x="80" y="335"/>
                  </a:cubicBezTo>
                  <a:cubicBezTo>
                    <a:pt x="65" y="335"/>
                    <a:pt x="51" y="330"/>
                    <a:pt x="41" y="320"/>
                  </a:cubicBezTo>
                  <a:cubicBezTo>
                    <a:pt x="51" y="311"/>
                    <a:pt x="65" y="306"/>
                    <a:pt x="80" y="306"/>
                  </a:cubicBezTo>
                  <a:cubicBezTo>
                    <a:pt x="81" y="306"/>
                    <a:pt x="81" y="306"/>
                    <a:pt x="82" y="306"/>
                  </a:cubicBezTo>
                  <a:lnTo>
                    <a:pt x="82" y="335"/>
                  </a:lnTo>
                  <a:close/>
                  <a:moveTo>
                    <a:pt x="82" y="285"/>
                  </a:moveTo>
                  <a:cubicBezTo>
                    <a:pt x="81" y="285"/>
                    <a:pt x="81" y="285"/>
                    <a:pt x="80" y="285"/>
                  </a:cubicBezTo>
                  <a:cubicBezTo>
                    <a:pt x="61" y="285"/>
                    <a:pt x="42" y="291"/>
                    <a:pt x="28" y="304"/>
                  </a:cubicBezTo>
                  <a:cubicBezTo>
                    <a:pt x="24" y="296"/>
                    <a:pt x="21" y="286"/>
                    <a:pt x="21" y="276"/>
                  </a:cubicBezTo>
                  <a:cubicBezTo>
                    <a:pt x="21" y="267"/>
                    <a:pt x="24" y="257"/>
                    <a:pt x="28" y="249"/>
                  </a:cubicBezTo>
                  <a:cubicBezTo>
                    <a:pt x="42" y="262"/>
                    <a:pt x="61" y="268"/>
                    <a:pt x="80" y="268"/>
                  </a:cubicBezTo>
                  <a:cubicBezTo>
                    <a:pt x="81" y="268"/>
                    <a:pt x="81" y="268"/>
                    <a:pt x="82" y="268"/>
                  </a:cubicBezTo>
                  <a:lnTo>
                    <a:pt x="82" y="285"/>
                  </a:lnTo>
                  <a:close/>
                  <a:moveTo>
                    <a:pt x="82" y="247"/>
                  </a:moveTo>
                  <a:cubicBezTo>
                    <a:pt x="81" y="247"/>
                    <a:pt x="81" y="247"/>
                    <a:pt x="80" y="247"/>
                  </a:cubicBezTo>
                  <a:cubicBezTo>
                    <a:pt x="65" y="247"/>
                    <a:pt x="51" y="242"/>
                    <a:pt x="41" y="233"/>
                  </a:cubicBezTo>
                  <a:cubicBezTo>
                    <a:pt x="51" y="223"/>
                    <a:pt x="65" y="218"/>
                    <a:pt x="80" y="218"/>
                  </a:cubicBezTo>
                  <a:cubicBezTo>
                    <a:pt x="81" y="218"/>
                    <a:pt x="81" y="218"/>
                    <a:pt x="82" y="218"/>
                  </a:cubicBezTo>
                  <a:lnTo>
                    <a:pt x="82" y="247"/>
                  </a:lnTo>
                  <a:close/>
                  <a:moveTo>
                    <a:pt x="82" y="131"/>
                  </a:moveTo>
                  <a:cubicBezTo>
                    <a:pt x="82" y="197"/>
                    <a:pt x="82" y="197"/>
                    <a:pt x="82" y="197"/>
                  </a:cubicBezTo>
                  <a:cubicBezTo>
                    <a:pt x="81" y="197"/>
                    <a:pt x="81" y="197"/>
                    <a:pt x="80" y="197"/>
                  </a:cubicBezTo>
                  <a:cubicBezTo>
                    <a:pt x="61" y="197"/>
                    <a:pt x="42" y="203"/>
                    <a:pt x="28" y="216"/>
                  </a:cubicBezTo>
                  <a:cubicBezTo>
                    <a:pt x="24" y="208"/>
                    <a:pt x="21" y="198"/>
                    <a:pt x="21" y="189"/>
                  </a:cubicBezTo>
                  <a:cubicBezTo>
                    <a:pt x="21" y="156"/>
                    <a:pt x="48" y="130"/>
                    <a:pt x="80" y="130"/>
                  </a:cubicBezTo>
                  <a:cubicBezTo>
                    <a:pt x="81" y="130"/>
                    <a:pt x="81" y="130"/>
                    <a:pt x="82" y="130"/>
                  </a:cubicBezTo>
                  <a:cubicBezTo>
                    <a:pt x="82" y="130"/>
                    <a:pt x="82" y="131"/>
                    <a:pt x="82" y="131"/>
                  </a:cubicBezTo>
                  <a:close/>
                  <a:moveTo>
                    <a:pt x="162" y="983"/>
                  </a:moveTo>
                  <a:cubicBezTo>
                    <a:pt x="179" y="989"/>
                    <a:pt x="196" y="993"/>
                    <a:pt x="214" y="993"/>
                  </a:cubicBezTo>
                  <a:cubicBezTo>
                    <a:pt x="717" y="993"/>
                    <a:pt x="717" y="993"/>
                    <a:pt x="717" y="993"/>
                  </a:cubicBezTo>
                  <a:cubicBezTo>
                    <a:pt x="734" y="993"/>
                    <a:pt x="752" y="989"/>
                    <a:pt x="768" y="983"/>
                  </a:cubicBezTo>
                  <a:cubicBezTo>
                    <a:pt x="781" y="977"/>
                    <a:pt x="792" y="970"/>
                    <a:pt x="803" y="961"/>
                  </a:cubicBezTo>
                  <a:cubicBezTo>
                    <a:pt x="783" y="987"/>
                    <a:pt x="752" y="1004"/>
                    <a:pt x="717" y="1004"/>
                  </a:cubicBezTo>
                  <a:cubicBezTo>
                    <a:pt x="214" y="1004"/>
                    <a:pt x="214" y="1004"/>
                    <a:pt x="214" y="1004"/>
                  </a:cubicBezTo>
                  <a:cubicBezTo>
                    <a:pt x="178" y="1004"/>
                    <a:pt x="147" y="987"/>
                    <a:pt x="128" y="961"/>
                  </a:cubicBezTo>
                  <a:cubicBezTo>
                    <a:pt x="138" y="970"/>
                    <a:pt x="150" y="977"/>
                    <a:pt x="162" y="983"/>
                  </a:cubicBezTo>
                  <a:close/>
                  <a:moveTo>
                    <a:pt x="717" y="1071"/>
                  </a:moveTo>
                  <a:cubicBezTo>
                    <a:pt x="214" y="1071"/>
                    <a:pt x="214" y="1071"/>
                    <a:pt x="214" y="1071"/>
                  </a:cubicBezTo>
                  <a:cubicBezTo>
                    <a:pt x="181" y="1071"/>
                    <a:pt x="151" y="1056"/>
                    <a:pt x="132" y="1032"/>
                  </a:cubicBezTo>
                  <a:cubicBezTo>
                    <a:pt x="142" y="1040"/>
                    <a:pt x="152" y="1046"/>
                    <a:pt x="164" y="1051"/>
                  </a:cubicBezTo>
                  <a:cubicBezTo>
                    <a:pt x="180" y="1057"/>
                    <a:pt x="196" y="1061"/>
                    <a:pt x="214" y="1061"/>
                  </a:cubicBezTo>
                  <a:cubicBezTo>
                    <a:pt x="717" y="1061"/>
                    <a:pt x="717" y="1061"/>
                    <a:pt x="717" y="1061"/>
                  </a:cubicBezTo>
                  <a:cubicBezTo>
                    <a:pt x="734" y="1061"/>
                    <a:pt x="751" y="1057"/>
                    <a:pt x="767" y="1051"/>
                  </a:cubicBezTo>
                  <a:cubicBezTo>
                    <a:pt x="778" y="1046"/>
                    <a:pt x="788" y="1040"/>
                    <a:pt x="798" y="1032"/>
                  </a:cubicBezTo>
                  <a:cubicBezTo>
                    <a:pt x="779" y="1056"/>
                    <a:pt x="750" y="1071"/>
                    <a:pt x="717" y="1071"/>
                  </a:cubicBezTo>
                  <a:close/>
                  <a:moveTo>
                    <a:pt x="717" y="1040"/>
                  </a:moveTo>
                  <a:cubicBezTo>
                    <a:pt x="214" y="1040"/>
                    <a:pt x="214" y="1040"/>
                    <a:pt x="214" y="1040"/>
                  </a:cubicBezTo>
                  <a:cubicBezTo>
                    <a:pt x="174" y="1040"/>
                    <a:pt x="139" y="1018"/>
                    <a:pt x="121" y="986"/>
                  </a:cubicBezTo>
                  <a:cubicBezTo>
                    <a:pt x="122" y="987"/>
                    <a:pt x="122" y="987"/>
                    <a:pt x="123" y="988"/>
                  </a:cubicBezTo>
                  <a:cubicBezTo>
                    <a:pt x="135" y="1000"/>
                    <a:pt x="149" y="1009"/>
                    <a:pt x="164" y="1016"/>
                  </a:cubicBezTo>
                  <a:cubicBezTo>
                    <a:pt x="180" y="1022"/>
                    <a:pt x="196" y="1026"/>
                    <a:pt x="214" y="1026"/>
                  </a:cubicBezTo>
                  <a:cubicBezTo>
                    <a:pt x="717" y="1026"/>
                    <a:pt x="717" y="1026"/>
                    <a:pt x="717" y="1026"/>
                  </a:cubicBezTo>
                  <a:cubicBezTo>
                    <a:pt x="734" y="1026"/>
                    <a:pt x="751" y="1022"/>
                    <a:pt x="767" y="1016"/>
                  </a:cubicBezTo>
                  <a:cubicBezTo>
                    <a:pt x="782" y="1009"/>
                    <a:pt x="795" y="1000"/>
                    <a:pt x="807" y="988"/>
                  </a:cubicBezTo>
                  <a:cubicBezTo>
                    <a:pt x="808" y="987"/>
                    <a:pt x="809" y="987"/>
                    <a:pt x="809" y="986"/>
                  </a:cubicBezTo>
                  <a:cubicBezTo>
                    <a:pt x="791" y="1018"/>
                    <a:pt x="756" y="1040"/>
                    <a:pt x="717" y="1040"/>
                  </a:cubicBezTo>
                  <a:close/>
                </a:path>
              </a:pathLst>
            </a:custGeom>
            <a:grpFill/>
            <a:ln w="9525">
              <a:noFill/>
              <a:round/>
              <a:headEnd/>
              <a:tailEnd/>
            </a:ln>
          </p:spPr>
          <p:txBody>
            <a:bodyPr vert="horz" wrap="square" lIns="121904" tIns="60952" rIns="121904" bIns="60952" numCol="1" anchor="t" anchorCtr="0" compatLnSpc="1">
              <a:prstTxWarp prst="textNoShape">
                <a:avLst/>
              </a:prstTxWarp>
            </a:bodyPr>
            <a:lstStyle/>
            <a:p>
              <a:endParaRPr lang="en-GB" sz="2533" dirty="0">
                <a:latin typeface="Calibri" panose="020F0502020204030204" pitchFamily="34" charset="0"/>
              </a:endParaRPr>
            </a:p>
          </p:txBody>
        </p:sp>
      </p:grpSp>
      <p:grpSp>
        <p:nvGrpSpPr>
          <p:cNvPr id="52" name="Group 51">
            <a:extLst>
              <a:ext uri="{FF2B5EF4-FFF2-40B4-BE49-F238E27FC236}">
                <a16:creationId xmlns:a16="http://schemas.microsoft.com/office/drawing/2014/main" xmlns="" id="{4C60946B-87CC-44E1-B42A-DEF3D1B674A2}"/>
              </a:ext>
            </a:extLst>
          </p:cNvPr>
          <p:cNvGrpSpPr/>
          <p:nvPr/>
        </p:nvGrpSpPr>
        <p:grpSpPr>
          <a:xfrm>
            <a:off x="7162805" y="1497126"/>
            <a:ext cx="459767" cy="455254"/>
            <a:chOff x="7657757" y="1497126"/>
            <a:chExt cx="459767" cy="455254"/>
          </a:xfrm>
        </p:grpSpPr>
        <p:sp>
          <p:nvSpPr>
            <p:cNvPr id="53" name="Oval 52"/>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54" name="Oval 53"/>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1</a:t>
              </a:r>
            </a:p>
          </p:txBody>
        </p:sp>
      </p:grpSp>
      <p:sp>
        <p:nvSpPr>
          <p:cNvPr id="55" name="Oval 54"/>
          <p:cNvSpPr/>
          <p:nvPr/>
        </p:nvSpPr>
        <p:spPr bwMode="auto">
          <a:xfrm>
            <a:off x="3317207" y="4477977"/>
            <a:ext cx="961128" cy="951693"/>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56" name="Oval 55"/>
          <p:cNvSpPr/>
          <p:nvPr/>
        </p:nvSpPr>
        <p:spPr bwMode="auto">
          <a:xfrm>
            <a:off x="3407169" y="4567053"/>
            <a:ext cx="781212" cy="773543"/>
          </a:xfrm>
          <a:prstGeom prst="ellips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57" name="Text Placeholder 4"/>
          <p:cNvSpPr>
            <a:spLocks noGrp="1"/>
          </p:cNvSpPr>
          <p:nvPr>
            <p:ph type="body" sz="quarter" idx="4294967295"/>
          </p:nvPr>
        </p:nvSpPr>
        <p:spPr>
          <a:xfrm>
            <a:off x="7924800" y="4168952"/>
            <a:ext cx="3708401" cy="555448"/>
          </a:xfrm>
          <a:prstGeom prst="rect">
            <a:avLst/>
          </a:prstGeom>
        </p:spPr>
        <p:txBody>
          <a:bodyPr/>
          <a:lstStyle/>
          <a:p>
            <a:r>
              <a:rPr lang="it-IT" dirty="0"/>
              <a:t>Features and Benefits</a:t>
            </a:r>
            <a:endParaRPr lang="en-US" dirty="0"/>
          </a:p>
        </p:txBody>
      </p:sp>
      <p:grpSp>
        <p:nvGrpSpPr>
          <p:cNvPr id="58" name="Group 57"/>
          <p:cNvGrpSpPr/>
          <p:nvPr/>
        </p:nvGrpSpPr>
        <p:grpSpPr>
          <a:xfrm>
            <a:off x="3570977" y="4753665"/>
            <a:ext cx="535448" cy="403187"/>
            <a:chOff x="5535108" y="1831852"/>
            <a:chExt cx="615950" cy="415925"/>
          </a:xfrm>
        </p:grpSpPr>
        <p:sp>
          <p:nvSpPr>
            <p:cNvPr id="59" name="Freeform 1490"/>
            <p:cNvSpPr>
              <a:spLocks/>
            </p:cNvSpPr>
            <p:nvPr/>
          </p:nvSpPr>
          <p:spPr bwMode="auto">
            <a:xfrm>
              <a:off x="5535108" y="2057277"/>
              <a:ext cx="307975" cy="190500"/>
            </a:xfrm>
            <a:custGeom>
              <a:avLst/>
              <a:gdLst/>
              <a:ahLst/>
              <a:cxnLst>
                <a:cxn ang="0">
                  <a:pos x="79" y="37"/>
                </a:cxn>
                <a:cxn ang="0">
                  <a:pos x="79" y="48"/>
                </a:cxn>
                <a:cxn ang="0">
                  <a:pos x="79" y="48"/>
                </a:cxn>
                <a:cxn ang="0">
                  <a:pos x="68" y="48"/>
                </a:cxn>
                <a:cxn ang="0">
                  <a:pos x="28" y="8"/>
                </a:cxn>
                <a:cxn ang="0">
                  <a:pos x="0" y="1"/>
                </a:cxn>
              </a:cxnLst>
              <a:rect l="0" t="0" r="r" b="b"/>
              <a:pathLst>
                <a:path w="82" h="51">
                  <a:moveTo>
                    <a:pt x="79" y="37"/>
                  </a:moveTo>
                  <a:cubicBezTo>
                    <a:pt x="82" y="40"/>
                    <a:pt x="82" y="45"/>
                    <a:pt x="79" y="48"/>
                  </a:cubicBezTo>
                  <a:cubicBezTo>
                    <a:pt x="79" y="48"/>
                    <a:pt x="79" y="48"/>
                    <a:pt x="79" y="48"/>
                  </a:cubicBezTo>
                  <a:cubicBezTo>
                    <a:pt x="76" y="51"/>
                    <a:pt x="71" y="51"/>
                    <a:pt x="68" y="48"/>
                  </a:cubicBezTo>
                  <a:cubicBezTo>
                    <a:pt x="68" y="48"/>
                    <a:pt x="39" y="14"/>
                    <a:pt x="28" y="8"/>
                  </a:cubicBezTo>
                  <a:cubicBezTo>
                    <a:pt x="12" y="0"/>
                    <a:pt x="0" y="1"/>
                    <a:pt x="0" y="1"/>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0" name="Freeform 1491"/>
            <p:cNvSpPr>
              <a:spLocks/>
            </p:cNvSpPr>
            <p:nvPr/>
          </p:nvSpPr>
          <p:spPr bwMode="auto">
            <a:xfrm>
              <a:off x="5749420" y="2071565"/>
              <a:ext cx="142875" cy="147637"/>
            </a:xfrm>
            <a:custGeom>
              <a:avLst/>
              <a:gdLst/>
              <a:ahLst/>
              <a:cxnLst>
                <a:cxn ang="0">
                  <a:pos x="11" y="0"/>
                </a:cxn>
                <a:cxn ang="0">
                  <a:pos x="35" y="25"/>
                </a:cxn>
                <a:cxn ang="0">
                  <a:pos x="35" y="36"/>
                </a:cxn>
                <a:cxn ang="0">
                  <a:pos x="35" y="36"/>
                </a:cxn>
                <a:cxn ang="0">
                  <a:pos x="25" y="36"/>
                </a:cxn>
                <a:cxn ang="0">
                  <a:pos x="0" y="11"/>
                </a:cxn>
              </a:cxnLst>
              <a:rect l="0" t="0" r="r" b="b"/>
              <a:pathLst>
                <a:path w="38" h="39">
                  <a:moveTo>
                    <a:pt x="11" y="0"/>
                  </a:moveTo>
                  <a:cubicBezTo>
                    <a:pt x="35" y="25"/>
                    <a:pt x="35" y="25"/>
                    <a:pt x="35" y="25"/>
                  </a:cubicBezTo>
                  <a:cubicBezTo>
                    <a:pt x="38" y="28"/>
                    <a:pt x="38" y="33"/>
                    <a:pt x="35" y="36"/>
                  </a:cubicBezTo>
                  <a:cubicBezTo>
                    <a:pt x="35" y="36"/>
                    <a:pt x="35" y="36"/>
                    <a:pt x="35" y="36"/>
                  </a:cubicBezTo>
                  <a:cubicBezTo>
                    <a:pt x="32" y="39"/>
                    <a:pt x="28" y="39"/>
                    <a:pt x="25" y="36"/>
                  </a:cubicBezTo>
                  <a:cubicBezTo>
                    <a:pt x="0" y="11"/>
                    <a:pt x="0" y="11"/>
                    <a:pt x="0" y="11"/>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1" name="Freeform 1492"/>
            <p:cNvSpPr>
              <a:spLocks/>
            </p:cNvSpPr>
            <p:nvPr/>
          </p:nvSpPr>
          <p:spPr bwMode="auto">
            <a:xfrm>
              <a:off x="5827208" y="1985840"/>
              <a:ext cx="184150" cy="192087"/>
            </a:xfrm>
            <a:custGeom>
              <a:avLst/>
              <a:gdLst/>
              <a:ahLst/>
              <a:cxnLst>
                <a:cxn ang="0">
                  <a:pos x="17" y="0"/>
                </a:cxn>
                <a:cxn ang="0">
                  <a:pos x="46" y="37"/>
                </a:cxn>
                <a:cxn ang="0">
                  <a:pos x="46" y="48"/>
                </a:cxn>
                <a:cxn ang="0">
                  <a:pos x="46" y="48"/>
                </a:cxn>
                <a:cxn ang="0">
                  <a:pos x="36" y="48"/>
                </a:cxn>
                <a:cxn ang="0">
                  <a:pos x="0" y="13"/>
                </a:cxn>
              </a:cxnLst>
              <a:rect l="0" t="0" r="r" b="b"/>
              <a:pathLst>
                <a:path w="49" h="51">
                  <a:moveTo>
                    <a:pt x="17" y="0"/>
                  </a:moveTo>
                  <a:cubicBezTo>
                    <a:pt x="46" y="37"/>
                    <a:pt x="46" y="37"/>
                    <a:pt x="46" y="37"/>
                  </a:cubicBezTo>
                  <a:cubicBezTo>
                    <a:pt x="49" y="40"/>
                    <a:pt x="49" y="45"/>
                    <a:pt x="46" y="48"/>
                  </a:cubicBezTo>
                  <a:cubicBezTo>
                    <a:pt x="46" y="48"/>
                    <a:pt x="46" y="48"/>
                    <a:pt x="46" y="48"/>
                  </a:cubicBezTo>
                  <a:cubicBezTo>
                    <a:pt x="43" y="51"/>
                    <a:pt x="39" y="51"/>
                    <a:pt x="36" y="48"/>
                  </a:cubicBezTo>
                  <a:cubicBezTo>
                    <a:pt x="0" y="13"/>
                    <a:pt x="0" y="13"/>
                    <a:pt x="0" y="13"/>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2" name="Freeform 1493"/>
            <p:cNvSpPr>
              <a:spLocks/>
            </p:cNvSpPr>
            <p:nvPr/>
          </p:nvSpPr>
          <p:spPr bwMode="auto">
            <a:xfrm>
              <a:off x="5685920" y="1862015"/>
              <a:ext cx="465138" cy="157162"/>
            </a:xfrm>
            <a:custGeom>
              <a:avLst/>
              <a:gdLst/>
              <a:ahLst/>
              <a:cxnLst>
                <a:cxn ang="0">
                  <a:pos x="124" y="6"/>
                </a:cxn>
                <a:cxn ang="0">
                  <a:pos x="96" y="17"/>
                </a:cxn>
                <a:cxn ang="0">
                  <a:pos x="51" y="0"/>
                </a:cxn>
                <a:cxn ang="0">
                  <a:pos x="5" y="19"/>
                </a:cxn>
                <a:cxn ang="0">
                  <a:pos x="1" y="29"/>
                </a:cxn>
                <a:cxn ang="0">
                  <a:pos x="1" y="29"/>
                </a:cxn>
                <a:cxn ang="0">
                  <a:pos x="11" y="33"/>
                </a:cxn>
                <a:cxn ang="0">
                  <a:pos x="42" y="21"/>
                </a:cxn>
                <a:cxn ang="0">
                  <a:pos x="70" y="40"/>
                </a:cxn>
                <a:cxn ang="0">
                  <a:pos x="87" y="40"/>
                </a:cxn>
              </a:cxnLst>
              <a:rect l="0" t="0" r="r" b="b"/>
              <a:pathLst>
                <a:path w="124" h="42">
                  <a:moveTo>
                    <a:pt x="124" y="6"/>
                  </a:moveTo>
                  <a:cubicBezTo>
                    <a:pt x="124" y="6"/>
                    <a:pt x="105" y="18"/>
                    <a:pt x="96" y="17"/>
                  </a:cubicBezTo>
                  <a:cubicBezTo>
                    <a:pt x="83" y="16"/>
                    <a:pt x="64" y="1"/>
                    <a:pt x="51" y="0"/>
                  </a:cubicBezTo>
                  <a:cubicBezTo>
                    <a:pt x="44" y="0"/>
                    <a:pt x="5" y="19"/>
                    <a:pt x="5" y="19"/>
                  </a:cubicBezTo>
                  <a:cubicBezTo>
                    <a:pt x="1" y="21"/>
                    <a:pt x="0" y="26"/>
                    <a:pt x="1" y="29"/>
                  </a:cubicBezTo>
                  <a:cubicBezTo>
                    <a:pt x="1" y="29"/>
                    <a:pt x="1" y="29"/>
                    <a:pt x="1" y="29"/>
                  </a:cubicBezTo>
                  <a:cubicBezTo>
                    <a:pt x="3" y="33"/>
                    <a:pt x="7" y="35"/>
                    <a:pt x="11" y="33"/>
                  </a:cubicBezTo>
                  <a:cubicBezTo>
                    <a:pt x="42" y="21"/>
                    <a:pt x="42" y="21"/>
                    <a:pt x="42" y="21"/>
                  </a:cubicBezTo>
                  <a:cubicBezTo>
                    <a:pt x="42" y="21"/>
                    <a:pt x="57" y="38"/>
                    <a:pt x="70" y="40"/>
                  </a:cubicBezTo>
                  <a:cubicBezTo>
                    <a:pt x="80" y="42"/>
                    <a:pt x="87" y="40"/>
                    <a:pt x="87" y="40"/>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3" name="Freeform 1494"/>
            <p:cNvSpPr>
              <a:spLocks/>
            </p:cNvSpPr>
            <p:nvPr/>
          </p:nvSpPr>
          <p:spPr bwMode="auto">
            <a:xfrm>
              <a:off x="5892295" y="2136652"/>
              <a:ext cx="47625" cy="47625"/>
            </a:xfrm>
            <a:custGeom>
              <a:avLst/>
              <a:gdLst/>
              <a:ahLst/>
              <a:cxnLst>
                <a:cxn ang="0">
                  <a:pos x="10" y="0"/>
                </a:cxn>
                <a:cxn ang="0">
                  <a:pos x="10" y="10"/>
                </a:cxn>
                <a:cxn ang="0">
                  <a:pos x="10" y="10"/>
                </a:cxn>
                <a:cxn ang="0">
                  <a:pos x="0" y="10"/>
                </a:cxn>
              </a:cxnLst>
              <a:rect l="0" t="0" r="r" b="b"/>
              <a:pathLst>
                <a:path w="13" h="13">
                  <a:moveTo>
                    <a:pt x="10" y="0"/>
                  </a:moveTo>
                  <a:cubicBezTo>
                    <a:pt x="13" y="3"/>
                    <a:pt x="13" y="7"/>
                    <a:pt x="10" y="10"/>
                  </a:cubicBezTo>
                  <a:cubicBezTo>
                    <a:pt x="10" y="10"/>
                    <a:pt x="10" y="10"/>
                    <a:pt x="10" y="10"/>
                  </a:cubicBezTo>
                  <a:cubicBezTo>
                    <a:pt x="7" y="13"/>
                    <a:pt x="3" y="13"/>
                    <a:pt x="0" y="10"/>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4" name="Freeform 1495"/>
            <p:cNvSpPr>
              <a:spLocks/>
            </p:cNvSpPr>
            <p:nvPr/>
          </p:nvSpPr>
          <p:spPr bwMode="auto">
            <a:xfrm>
              <a:off x="5997070" y="2057277"/>
              <a:ext cx="153988" cy="52387"/>
            </a:xfrm>
            <a:custGeom>
              <a:avLst/>
              <a:gdLst/>
              <a:ahLst/>
              <a:cxnLst>
                <a:cxn ang="0">
                  <a:pos x="0" y="14"/>
                </a:cxn>
                <a:cxn ang="0">
                  <a:pos x="41" y="0"/>
                </a:cxn>
              </a:cxnLst>
              <a:rect l="0" t="0" r="r" b="b"/>
              <a:pathLst>
                <a:path w="41" h="14">
                  <a:moveTo>
                    <a:pt x="0" y="14"/>
                  </a:moveTo>
                  <a:cubicBezTo>
                    <a:pt x="0" y="14"/>
                    <a:pt x="32" y="12"/>
                    <a:pt x="41" y="0"/>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sp>
          <p:nvSpPr>
            <p:cNvPr id="65" name="Freeform 1496"/>
            <p:cNvSpPr>
              <a:spLocks/>
            </p:cNvSpPr>
            <p:nvPr/>
          </p:nvSpPr>
          <p:spPr bwMode="auto">
            <a:xfrm>
              <a:off x="5562095" y="1831852"/>
              <a:ext cx="250825" cy="49212"/>
            </a:xfrm>
            <a:custGeom>
              <a:avLst/>
              <a:gdLst/>
              <a:ahLst/>
              <a:cxnLst>
                <a:cxn ang="0">
                  <a:pos x="0" y="6"/>
                </a:cxn>
                <a:cxn ang="0">
                  <a:pos x="67" y="13"/>
                </a:cxn>
              </a:cxnLst>
              <a:rect l="0" t="0" r="r" b="b"/>
              <a:pathLst>
                <a:path w="67" h="13">
                  <a:moveTo>
                    <a:pt x="0" y="6"/>
                  </a:moveTo>
                  <a:cubicBezTo>
                    <a:pt x="26" y="0"/>
                    <a:pt x="67" y="13"/>
                    <a:pt x="67" y="13"/>
                  </a:cubicBezTo>
                </a:path>
              </a:pathLst>
            </a:custGeom>
            <a:noFill/>
            <a:ln w="15875" cap="rnd">
              <a:solidFill>
                <a:schemeClr val="bg1">
                  <a:alpha val="70000"/>
                </a:schemeClr>
              </a:solidFill>
              <a:prstDash val="solid"/>
              <a:round/>
              <a:headEnd/>
              <a:tailEnd/>
            </a:ln>
          </p:spPr>
          <p:txBody>
            <a:bodyPr vert="horz" wrap="square" lIns="121904" tIns="60952" rIns="121904" bIns="60952" numCol="1" anchor="t" anchorCtr="0" compatLnSpc="1">
              <a:prstTxWarp prst="textNoShape">
                <a:avLst/>
              </a:prstTxWarp>
            </a:bodyPr>
            <a:lstStyle/>
            <a:p>
              <a:endParaRPr lang="en-US" sz="1467" dirty="0">
                <a:latin typeface="Calibri" panose="020F0502020204030204" pitchFamily="34" charset="0"/>
              </a:endParaRPr>
            </a:p>
          </p:txBody>
        </p:sp>
      </p:grpSp>
      <p:sp>
        <p:nvSpPr>
          <p:cNvPr id="66" name="Text Placeholder 4">
            <a:extLst>
              <a:ext uri="{FF2B5EF4-FFF2-40B4-BE49-F238E27FC236}">
                <a16:creationId xmlns:a16="http://schemas.microsoft.com/office/drawing/2014/main" xmlns="" id="{539043E4-A3C1-479B-A690-EF23B400FF33}"/>
              </a:ext>
            </a:extLst>
          </p:cNvPr>
          <p:cNvSpPr txBox="1">
            <a:spLocks/>
          </p:cNvSpPr>
          <p:nvPr/>
        </p:nvSpPr>
        <p:spPr>
          <a:xfrm>
            <a:off x="7848600" y="4791966"/>
            <a:ext cx="3708401" cy="555448"/>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1800" dirty="0" smtClean="0"/>
              <a:t>Business Quantification</a:t>
            </a:r>
            <a:endParaRPr lang="en-US" sz="1800" dirty="0"/>
          </a:p>
        </p:txBody>
      </p:sp>
      <p:grpSp>
        <p:nvGrpSpPr>
          <p:cNvPr id="67" name="Group 66">
            <a:extLst>
              <a:ext uri="{FF2B5EF4-FFF2-40B4-BE49-F238E27FC236}">
                <a16:creationId xmlns:a16="http://schemas.microsoft.com/office/drawing/2014/main" xmlns="" id="{B31E4538-621C-4E12-8CA7-B4CA814C6719}"/>
              </a:ext>
            </a:extLst>
          </p:cNvPr>
          <p:cNvGrpSpPr/>
          <p:nvPr/>
        </p:nvGrpSpPr>
        <p:grpSpPr>
          <a:xfrm>
            <a:off x="7162804" y="2327818"/>
            <a:ext cx="459767" cy="455254"/>
            <a:chOff x="7657757" y="1497126"/>
            <a:chExt cx="459767" cy="455254"/>
          </a:xfrm>
        </p:grpSpPr>
        <p:sp>
          <p:nvSpPr>
            <p:cNvPr id="68" name="Oval 67">
              <a:extLst>
                <a:ext uri="{FF2B5EF4-FFF2-40B4-BE49-F238E27FC236}">
                  <a16:creationId xmlns:a16="http://schemas.microsoft.com/office/drawing/2014/main" xmlns="" id="{16B74424-E108-4B71-84AA-5AC07A5F7AD2}"/>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69" name="Oval 68">
              <a:extLst>
                <a:ext uri="{FF2B5EF4-FFF2-40B4-BE49-F238E27FC236}">
                  <a16:creationId xmlns:a16="http://schemas.microsoft.com/office/drawing/2014/main" xmlns="" id="{7E9555F8-DD31-4D6A-A581-306738486A5F}"/>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2</a:t>
              </a:r>
            </a:p>
          </p:txBody>
        </p:sp>
      </p:grpSp>
      <p:grpSp>
        <p:nvGrpSpPr>
          <p:cNvPr id="70" name="Group 69">
            <a:extLst>
              <a:ext uri="{FF2B5EF4-FFF2-40B4-BE49-F238E27FC236}">
                <a16:creationId xmlns:a16="http://schemas.microsoft.com/office/drawing/2014/main" xmlns="" id="{A21B9007-BFA7-4C9F-BFE4-BFA6A0401432}"/>
              </a:ext>
            </a:extLst>
          </p:cNvPr>
          <p:cNvGrpSpPr/>
          <p:nvPr/>
        </p:nvGrpSpPr>
        <p:grpSpPr>
          <a:xfrm>
            <a:off x="7162803" y="3219635"/>
            <a:ext cx="459767" cy="455254"/>
            <a:chOff x="7657757" y="1497126"/>
            <a:chExt cx="459767" cy="455254"/>
          </a:xfrm>
        </p:grpSpPr>
        <p:sp>
          <p:nvSpPr>
            <p:cNvPr id="71" name="Oval 70">
              <a:extLst>
                <a:ext uri="{FF2B5EF4-FFF2-40B4-BE49-F238E27FC236}">
                  <a16:creationId xmlns:a16="http://schemas.microsoft.com/office/drawing/2014/main" xmlns="" id="{5A664FEA-81B4-48C2-BA8D-B737A5ECDF8C}"/>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72" name="Oval 71">
              <a:extLst>
                <a:ext uri="{FF2B5EF4-FFF2-40B4-BE49-F238E27FC236}">
                  <a16:creationId xmlns:a16="http://schemas.microsoft.com/office/drawing/2014/main" xmlns="" id="{170C6AF4-E8CE-4C38-9DE5-25444821A9A2}"/>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3</a:t>
              </a:r>
            </a:p>
          </p:txBody>
        </p:sp>
      </p:grpSp>
      <p:grpSp>
        <p:nvGrpSpPr>
          <p:cNvPr id="73" name="Group 72">
            <a:extLst>
              <a:ext uri="{FF2B5EF4-FFF2-40B4-BE49-F238E27FC236}">
                <a16:creationId xmlns:a16="http://schemas.microsoft.com/office/drawing/2014/main" xmlns="" id="{4E32148D-EE92-48A9-BF5C-853CEF39F752}"/>
              </a:ext>
            </a:extLst>
          </p:cNvPr>
          <p:cNvGrpSpPr/>
          <p:nvPr/>
        </p:nvGrpSpPr>
        <p:grpSpPr>
          <a:xfrm>
            <a:off x="7162802" y="4075108"/>
            <a:ext cx="459767" cy="455254"/>
            <a:chOff x="7657757" y="1497126"/>
            <a:chExt cx="459767" cy="455254"/>
          </a:xfrm>
        </p:grpSpPr>
        <p:sp>
          <p:nvSpPr>
            <p:cNvPr id="74" name="Oval 73">
              <a:extLst>
                <a:ext uri="{FF2B5EF4-FFF2-40B4-BE49-F238E27FC236}">
                  <a16:creationId xmlns:a16="http://schemas.microsoft.com/office/drawing/2014/main" xmlns="" id="{C63F95AB-57C5-4AAD-BA35-D9B218DA49F7}"/>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75" name="Oval 74">
              <a:extLst>
                <a:ext uri="{FF2B5EF4-FFF2-40B4-BE49-F238E27FC236}">
                  <a16:creationId xmlns:a16="http://schemas.microsoft.com/office/drawing/2014/main" xmlns="" id="{97A14C6C-1E7D-4C74-9296-1E4186855161}"/>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4</a:t>
              </a:r>
            </a:p>
          </p:txBody>
        </p:sp>
      </p:grpSp>
      <p:grpSp>
        <p:nvGrpSpPr>
          <p:cNvPr id="76" name="Group 75">
            <a:extLst>
              <a:ext uri="{FF2B5EF4-FFF2-40B4-BE49-F238E27FC236}">
                <a16:creationId xmlns:a16="http://schemas.microsoft.com/office/drawing/2014/main" xmlns="" id="{704CD99C-B1B1-4C7D-9CC7-CE6EC82A9A0E}"/>
              </a:ext>
            </a:extLst>
          </p:cNvPr>
          <p:cNvGrpSpPr/>
          <p:nvPr/>
        </p:nvGrpSpPr>
        <p:grpSpPr>
          <a:xfrm>
            <a:off x="7162801" y="4829350"/>
            <a:ext cx="459767" cy="455254"/>
            <a:chOff x="7657757" y="1497126"/>
            <a:chExt cx="459767" cy="455254"/>
          </a:xfrm>
        </p:grpSpPr>
        <p:sp>
          <p:nvSpPr>
            <p:cNvPr id="77" name="Oval 76">
              <a:extLst>
                <a:ext uri="{FF2B5EF4-FFF2-40B4-BE49-F238E27FC236}">
                  <a16:creationId xmlns:a16="http://schemas.microsoft.com/office/drawing/2014/main" xmlns="" id="{094AABD9-6B60-4A94-A5FA-0594BF0E8FB3}"/>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78" name="Oval 77">
              <a:extLst>
                <a:ext uri="{FF2B5EF4-FFF2-40B4-BE49-F238E27FC236}">
                  <a16:creationId xmlns:a16="http://schemas.microsoft.com/office/drawing/2014/main" xmlns="" id="{DAB78C9B-B0BF-46AD-ABEC-A4B0CA36CBA3}"/>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5</a:t>
              </a:r>
            </a:p>
          </p:txBody>
        </p:sp>
      </p:grpSp>
      <p:grpSp>
        <p:nvGrpSpPr>
          <p:cNvPr id="79" name="Group 78">
            <a:extLst>
              <a:ext uri="{FF2B5EF4-FFF2-40B4-BE49-F238E27FC236}">
                <a16:creationId xmlns:a16="http://schemas.microsoft.com/office/drawing/2014/main" xmlns="" id="{78594A6D-BD17-4CD8-B7D8-D6BF32124912}"/>
              </a:ext>
            </a:extLst>
          </p:cNvPr>
          <p:cNvGrpSpPr/>
          <p:nvPr/>
        </p:nvGrpSpPr>
        <p:grpSpPr>
          <a:xfrm>
            <a:off x="7162800" y="5638800"/>
            <a:ext cx="459767" cy="455254"/>
            <a:chOff x="7657757" y="1497126"/>
            <a:chExt cx="459767" cy="455254"/>
          </a:xfrm>
        </p:grpSpPr>
        <p:sp>
          <p:nvSpPr>
            <p:cNvPr id="80" name="Oval 79">
              <a:extLst>
                <a:ext uri="{FF2B5EF4-FFF2-40B4-BE49-F238E27FC236}">
                  <a16:creationId xmlns:a16="http://schemas.microsoft.com/office/drawing/2014/main" xmlns="" id="{AF43E895-8E57-4CB6-A1F0-D1A2F1966AB3}"/>
                </a:ext>
              </a:extLst>
            </p:cNvPr>
            <p:cNvSpPr/>
            <p:nvPr/>
          </p:nvSpPr>
          <p:spPr bwMode="auto">
            <a:xfrm>
              <a:off x="7657757" y="1497126"/>
              <a:ext cx="459767" cy="455254"/>
            </a:xfrm>
            <a:prstGeom prst="ellipse">
              <a:avLst/>
            </a:prstGeom>
            <a:solidFill>
              <a:schemeClr val="bg1"/>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121904" tIns="60952" rIns="121904" bIns="60952" numCol="1" rtlCol="0" anchor="ctr" anchorCtr="0" compatLnSpc="1">
              <a:prstTxWarp prst="textNoShape">
                <a:avLst/>
              </a:prstTxWarp>
            </a:bodyPr>
            <a:lstStyle/>
            <a:p>
              <a:pPr algn="ctr" defTabSz="914309" eaLnBrk="0" hangingPunct="0"/>
              <a:endParaRPr lang="en-GB" sz="1600" dirty="0">
                <a:latin typeface="Calibri" panose="020F0502020204030204" pitchFamily="34" charset="0"/>
                <a:cs typeface="Arial" charset="0"/>
              </a:endParaRPr>
            </a:p>
          </p:txBody>
        </p:sp>
        <p:sp>
          <p:nvSpPr>
            <p:cNvPr id="81" name="Oval 80">
              <a:extLst>
                <a:ext uri="{FF2B5EF4-FFF2-40B4-BE49-F238E27FC236}">
                  <a16:creationId xmlns:a16="http://schemas.microsoft.com/office/drawing/2014/main" xmlns="" id="{350A738D-01DC-4583-ACC5-5CF55F244AA7}"/>
                </a:ext>
              </a:extLst>
            </p:cNvPr>
            <p:cNvSpPr/>
            <p:nvPr/>
          </p:nvSpPr>
          <p:spPr bwMode="auto">
            <a:xfrm>
              <a:off x="7700790" y="1549607"/>
              <a:ext cx="373703" cy="370035"/>
            </a:xfrm>
            <a:prstGeom prst="ellipse">
              <a:avLst/>
            </a:prstGeom>
            <a:solidFill>
              <a:srgbClr val="0070C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4309" eaLnBrk="0" hangingPunct="0"/>
              <a:r>
                <a:rPr lang="en-GB" sz="1600" b="1" dirty="0">
                  <a:solidFill>
                    <a:schemeClr val="bg1"/>
                  </a:solidFill>
                  <a:latin typeface="Calibri" panose="020F0502020204030204" pitchFamily="34" charset="0"/>
                  <a:cs typeface="Arial" charset="0"/>
                </a:rPr>
                <a:t>6</a:t>
              </a:r>
            </a:p>
          </p:txBody>
        </p:sp>
      </p:grpSp>
      <p:sp>
        <p:nvSpPr>
          <p:cNvPr id="82" name="Text Placeholder 4">
            <a:extLst>
              <a:ext uri="{FF2B5EF4-FFF2-40B4-BE49-F238E27FC236}">
                <a16:creationId xmlns:a16="http://schemas.microsoft.com/office/drawing/2014/main" xmlns="" id="{B91A6E4C-1FBC-4C91-A6A4-C3F431E4E415}"/>
              </a:ext>
            </a:extLst>
          </p:cNvPr>
          <p:cNvSpPr txBox="1">
            <a:spLocks/>
          </p:cNvSpPr>
          <p:nvPr/>
        </p:nvSpPr>
        <p:spPr>
          <a:xfrm>
            <a:off x="7814481" y="5576553"/>
            <a:ext cx="3708401" cy="555448"/>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1800" dirty="0"/>
              <a:t>Q&amp;A</a:t>
            </a:r>
            <a:endParaRPr lang="en-US" sz="1800" dirty="0"/>
          </a:p>
        </p:txBody>
      </p:sp>
      <p:sp>
        <p:nvSpPr>
          <p:cNvPr id="86" name="Round Same Side Corner Rectangle 19">
            <a:extLst>
              <a:ext uri="{FF2B5EF4-FFF2-40B4-BE49-F238E27FC236}">
                <a16:creationId xmlns:a16="http://schemas.microsoft.com/office/drawing/2014/main" xmlns="" id="{4C393668-23A4-4F9D-9769-4F4640D9BBB3}"/>
              </a:ext>
            </a:extLst>
          </p:cNvPr>
          <p:cNvSpPr/>
          <p:nvPr/>
        </p:nvSpPr>
        <p:spPr>
          <a:xfrm>
            <a:off x="2244223" y="1780308"/>
            <a:ext cx="449345" cy="446260"/>
          </a:xfrm>
          <a:custGeom>
            <a:avLst/>
            <a:gdLst/>
            <a:ahLst/>
            <a:cxnLst/>
            <a:rect l="l" t="t" r="r" b="b"/>
            <a:pathLst>
              <a:path w="2600931" h="3213524">
                <a:moveTo>
                  <a:pt x="1304260" y="0"/>
                </a:moveTo>
                <a:cubicBezTo>
                  <a:pt x="1403671" y="0"/>
                  <a:pt x="1484260" y="80589"/>
                  <a:pt x="1484260" y="180000"/>
                </a:cubicBezTo>
                <a:lnTo>
                  <a:pt x="1484260" y="412061"/>
                </a:lnTo>
                <a:lnTo>
                  <a:pt x="2330931" y="412061"/>
                </a:lnTo>
                <a:lnTo>
                  <a:pt x="2600931" y="682061"/>
                </a:lnTo>
                <a:lnTo>
                  <a:pt x="2330931" y="952061"/>
                </a:lnTo>
                <a:lnTo>
                  <a:pt x="1484260" y="952061"/>
                </a:lnTo>
                <a:lnTo>
                  <a:pt x="1484260" y="1110244"/>
                </a:lnTo>
                <a:lnTo>
                  <a:pt x="2375646" y="1110244"/>
                </a:lnTo>
                <a:lnTo>
                  <a:pt x="2375646" y="1650244"/>
                </a:lnTo>
                <a:lnTo>
                  <a:pt x="1484260" y="1650244"/>
                </a:lnTo>
                <a:lnTo>
                  <a:pt x="1484260" y="3213524"/>
                </a:lnTo>
                <a:lnTo>
                  <a:pt x="1124260" y="3213524"/>
                </a:lnTo>
                <a:lnTo>
                  <a:pt x="1124260" y="1650244"/>
                </a:lnTo>
                <a:lnTo>
                  <a:pt x="270000" y="1650244"/>
                </a:lnTo>
                <a:lnTo>
                  <a:pt x="0" y="1380244"/>
                </a:lnTo>
                <a:lnTo>
                  <a:pt x="270000" y="1110244"/>
                </a:lnTo>
                <a:lnTo>
                  <a:pt x="1124260" y="1110244"/>
                </a:lnTo>
                <a:lnTo>
                  <a:pt x="1124260" y="952061"/>
                </a:lnTo>
                <a:lnTo>
                  <a:pt x="224931" y="952061"/>
                </a:lnTo>
                <a:lnTo>
                  <a:pt x="224931" y="412061"/>
                </a:lnTo>
                <a:lnTo>
                  <a:pt x="1124260" y="412061"/>
                </a:lnTo>
                <a:lnTo>
                  <a:pt x="1124260" y="180000"/>
                </a:lnTo>
                <a:cubicBezTo>
                  <a:pt x="1124260" y="80589"/>
                  <a:pt x="1204849" y="0"/>
                  <a:pt x="1304260" y="0"/>
                </a:cubicBezTo>
                <a:close/>
              </a:path>
            </a:pathLst>
          </a:custGeom>
          <a:solidFill>
            <a:srgbClr val="0DD2D9"/>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Arial"/>
              <a:ea typeface="Arial Unicode MS"/>
              <a:cs typeface="+mn-cs"/>
            </a:endParaRPr>
          </a:p>
        </p:txBody>
      </p:sp>
      <p:sp>
        <p:nvSpPr>
          <p:cNvPr id="89" name="Oval 25">
            <a:extLst>
              <a:ext uri="{FF2B5EF4-FFF2-40B4-BE49-F238E27FC236}">
                <a16:creationId xmlns:a16="http://schemas.microsoft.com/office/drawing/2014/main" xmlns="" id="{B60FD4DA-4BCF-48B5-AAD7-7A491764874F}"/>
              </a:ext>
            </a:extLst>
          </p:cNvPr>
          <p:cNvSpPr>
            <a:spLocks noChangeAspect="1"/>
          </p:cNvSpPr>
          <p:nvPr/>
        </p:nvSpPr>
        <p:spPr>
          <a:xfrm>
            <a:off x="4039494" y="3474783"/>
            <a:ext cx="420932" cy="421506"/>
          </a:xfrm>
          <a:custGeom>
            <a:avLst/>
            <a:gdLst/>
            <a:ahLst/>
            <a:cxnLst/>
            <a:rect l="l" t="t" r="r" b="b"/>
            <a:pathLst>
              <a:path w="3225370" h="3229762">
                <a:moveTo>
                  <a:pt x="1355872" y="0"/>
                </a:moveTo>
                <a:cubicBezTo>
                  <a:pt x="1564636" y="0"/>
                  <a:pt x="1733872" y="169236"/>
                  <a:pt x="1733872" y="378000"/>
                </a:cubicBezTo>
                <a:cubicBezTo>
                  <a:pt x="1733872" y="530834"/>
                  <a:pt x="1643169" y="662483"/>
                  <a:pt x="1512292" y="721255"/>
                </a:cubicBezTo>
                <a:lnTo>
                  <a:pt x="1607042" y="1169019"/>
                </a:lnTo>
                <a:cubicBezTo>
                  <a:pt x="1611319" y="1167786"/>
                  <a:pt x="1615651" y="1167712"/>
                  <a:pt x="1620000" y="1167712"/>
                </a:cubicBezTo>
                <a:cubicBezTo>
                  <a:pt x="1828764" y="1167712"/>
                  <a:pt x="1998000" y="1336948"/>
                  <a:pt x="1998000" y="1545712"/>
                </a:cubicBezTo>
                <a:lnTo>
                  <a:pt x="1996362" y="1567711"/>
                </a:lnTo>
                <a:lnTo>
                  <a:pt x="2525816" y="1711728"/>
                </a:lnTo>
                <a:cubicBezTo>
                  <a:pt x="2591164" y="1602543"/>
                  <a:pt x="2710810" y="1530128"/>
                  <a:pt x="2847370" y="1530128"/>
                </a:cubicBezTo>
                <a:cubicBezTo>
                  <a:pt x="3056134" y="1530128"/>
                  <a:pt x="3225370" y="1699364"/>
                  <a:pt x="3225370" y="1908128"/>
                </a:cubicBezTo>
                <a:cubicBezTo>
                  <a:pt x="3225370" y="2116892"/>
                  <a:pt x="3056134" y="2286128"/>
                  <a:pt x="2847370" y="2286128"/>
                </a:cubicBezTo>
                <a:cubicBezTo>
                  <a:pt x="2638606" y="2286128"/>
                  <a:pt x="2469370" y="2116892"/>
                  <a:pt x="2469370" y="1908128"/>
                </a:cubicBezTo>
                <a:lnTo>
                  <a:pt x="2475505" y="1847275"/>
                </a:lnTo>
                <a:lnTo>
                  <a:pt x="1957861" y="1706471"/>
                </a:lnTo>
                <a:cubicBezTo>
                  <a:pt x="1922674" y="1789256"/>
                  <a:pt x="1855841" y="1854310"/>
                  <a:pt x="1773397" y="1890608"/>
                </a:cubicBezTo>
                <a:lnTo>
                  <a:pt x="1908290" y="2478637"/>
                </a:lnTo>
                <a:cubicBezTo>
                  <a:pt x="2094333" y="2500701"/>
                  <a:pt x="2237929" y="2659462"/>
                  <a:pt x="2237929" y="2851762"/>
                </a:cubicBezTo>
                <a:cubicBezTo>
                  <a:pt x="2237929" y="3060526"/>
                  <a:pt x="2068693" y="3229762"/>
                  <a:pt x="1859929" y="3229762"/>
                </a:cubicBezTo>
                <a:cubicBezTo>
                  <a:pt x="1651165" y="3229762"/>
                  <a:pt x="1481929" y="3060526"/>
                  <a:pt x="1481929" y="2851762"/>
                </a:cubicBezTo>
                <a:cubicBezTo>
                  <a:pt x="1481929" y="2676759"/>
                  <a:pt x="1600854" y="2529533"/>
                  <a:pt x="1762693" y="2487978"/>
                </a:cubicBezTo>
                <a:lnTo>
                  <a:pt x="1632951" y="1922407"/>
                </a:lnTo>
                <a:cubicBezTo>
                  <a:pt x="1628677" y="1923639"/>
                  <a:pt x="1624347" y="1923712"/>
                  <a:pt x="1620000" y="1923712"/>
                </a:cubicBezTo>
                <a:cubicBezTo>
                  <a:pt x="1474614" y="1923712"/>
                  <a:pt x="1348399" y="1841634"/>
                  <a:pt x="1286703" y="1720478"/>
                </a:cubicBezTo>
                <a:lnTo>
                  <a:pt x="726463" y="1950491"/>
                </a:lnTo>
                <a:cubicBezTo>
                  <a:pt x="745503" y="1995553"/>
                  <a:pt x="756000" y="2045092"/>
                  <a:pt x="756000" y="2097083"/>
                </a:cubicBezTo>
                <a:cubicBezTo>
                  <a:pt x="756000" y="2305847"/>
                  <a:pt x="586764" y="2475083"/>
                  <a:pt x="378000" y="2475083"/>
                </a:cubicBezTo>
                <a:cubicBezTo>
                  <a:pt x="169236" y="2475083"/>
                  <a:pt x="0" y="2305847"/>
                  <a:pt x="0" y="2097083"/>
                </a:cubicBezTo>
                <a:cubicBezTo>
                  <a:pt x="0" y="1888319"/>
                  <a:pt x="169236" y="1719083"/>
                  <a:pt x="378000" y="1719083"/>
                </a:cubicBezTo>
                <a:cubicBezTo>
                  <a:pt x="481765" y="1719083"/>
                  <a:pt x="575764" y="1760894"/>
                  <a:pt x="643957" y="1828700"/>
                </a:cubicBezTo>
                <a:lnTo>
                  <a:pt x="1245626" y="1581679"/>
                </a:lnTo>
                <a:cubicBezTo>
                  <a:pt x="1242578" y="1569964"/>
                  <a:pt x="1242000" y="1557905"/>
                  <a:pt x="1242000" y="1545712"/>
                </a:cubicBezTo>
                <a:cubicBezTo>
                  <a:pt x="1242000" y="1391666"/>
                  <a:pt x="1334148" y="1259142"/>
                  <a:pt x="1466584" y="1200827"/>
                </a:cubicBezTo>
                <a:lnTo>
                  <a:pt x="1372109" y="754363"/>
                </a:lnTo>
                <a:cubicBezTo>
                  <a:pt x="1366762" y="755885"/>
                  <a:pt x="1361331" y="756000"/>
                  <a:pt x="1355872" y="756000"/>
                </a:cubicBezTo>
                <a:cubicBezTo>
                  <a:pt x="1147108" y="756000"/>
                  <a:pt x="977872" y="586764"/>
                  <a:pt x="977872" y="378000"/>
                </a:cubicBezTo>
                <a:cubicBezTo>
                  <a:pt x="977872" y="169236"/>
                  <a:pt x="1147108" y="0"/>
                  <a:pt x="1355872" y="0"/>
                </a:cubicBezTo>
                <a:close/>
              </a:path>
            </a:pathLst>
          </a:custGeom>
          <a:solidFill>
            <a:srgbClr val="0DD2D9"/>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4600046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 xmlns:a16="http://schemas.microsoft.com/office/drawing/2014/main" id="{C87F7D95-A004-4933-9357-16FB71778687}"/>
              </a:ext>
            </a:extLst>
          </p:cNvPr>
          <p:cNvSpPr>
            <a:spLocks noGrp="1"/>
          </p:cNvSpPr>
          <p:nvPr>
            <p:ph type="title"/>
          </p:nvPr>
        </p:nvSpPr>
        <p:spPr>
          <a:xfrm>
            <a:off x="457200" y="274642"/>
            <a:ext cx="10440534" cy="745601"/>
          </a:xfrm>
        </p:spPr>
        <p:txBody>
          <a:bodyPr/>
          <a:lstStyle/>
          <a:p>
            <a:r>
              <a:rPr lang="en-US" dirty="0" smtClean="0"/>
              <a:t>Business Context</a:t>
            </a:r>
            <a:endParaRPr lang="en-US" dirty="0"/>
          </a:p>
        </p:txBody>
      </p:sp>
      <p:grpSp>
        <p:nvGrpSpPr>
          <p:cNvPr id="21" name="Groupe 5"/>
          <p:cNvGrpSpPr/>
          <p:nvPr/>
        </p:nvGrpSpPr>
        <p:grpSpPr>
          <a:xfrm>
            <a:off x="9744818" y="1530858"/>
            <a:ext cx="1044000" cy="1044000"/>
            <a:chOff x="5710197" y="2400734"/>
            <a:chExt cx="1044000" cy="1044000"/>
          </a:xfrm>
        </p:grpSpPr>
        <p:sp>
          <p:nvSpPr>
            <p:cNvPr id="22" name="Ellipse 6"/>
            <p:cNvSpPr/>
            <p:nvPr/>
          </p:nvSpPr>
          <p:spPr bwMode="auto">
            <a:xfrm>
              <a:off x="5710197" y="2400734"/>
              <a:ext cx="1044000" cy="1044000"/>
            </a:xfrm>
            <a:prstGeom prst="ellipse">
              <a:avLst/>
            </a:prstGeom>
            <a:solidFill>
              <a:schemeClr val="bg1">
                <a:alpha val="7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23" name="Groupe 7"/>
            <p:cNvGrpSpPr/>
            <p:nvPr/>
          </p:nvGrpSpPr>
          <p:grpSpPr>
            <a:xfrm>
              <a:off x="5932696" y="2634734"/>
              <a:ext cx="599003" cy="775429"/>
              <a:chOff x="5942738" y="2841527"/>
              <a:chExt cx="599003" cy="775429"/>
            </a:xfrm>
          </p:grpSpPr>
          <p:grpSp>
            <p:nvGrpSpPr>
              <p:cNvPr id="24" name="Groupe 8"/>
              <p:cNvGrpSpPr/>
              <p:nvPr/>
            </p:nvGrpSpPr>
            <p:grpSpPr>
              <a:xfrm>
                <a:off x="5942738" y="3421790"/>
                <a:ext cx="599003" cy="195166"/>
                <a:chOff x="5942738" y="3421790"/>
                <a:chExt cx="599003" cy="195166"/>
              </a:xfrm>
              <a:solidFill>
                <a:schemeClr val="accent1">
                  <a:lumMod val="75000"/>
                </a:schemeClr>
              </a:solidFill>
            </p:grpSpPr>
            <p:sp>
              <p:nvSpPr>
                <p:cNvPr id="63" name="Forme libre : forme 33"/>
                <p:cNvSpPr/>
                <p:nvPr/>
              </p:nvSpPr>
              <p:spPr bwMode="auto">
                <a:xfrm>
                  <a:off x="5942738" y="3421790"/>
                  <a:ext cx="117632" cy="128223"/>
                </a:xfrm>
                <a:custGeom>
                  <a:avLst/>
                  <a:gdLst/>
                  <a:ahLst/>
                  <a:cxnLst/>
                  <a:rect l="l" t="t" r="r" b="b"/>
                  <a:pathLst>
                    <a:path w="117632" h="128223">
                      <a:moveTo>
                        <a:pt x="63350" y="0"/>
                      </a:moveTo>
                      <a:lnTo>
                        <a:pt x="98256" y="23767"/>
                      </a:lnTo>
                      <a:cubicBezTo>
                        <a:pt x="105364" y="28607"/>
                        <a:pt x="110424" y="33431"/>
                        <a:pt x="113437" y="38238"/>
                      </a:cubicBezTo>
                      <a:cubicBezTo>
                        <a:pt x="116449" y="43044"/>
                        <a:pt x="117840" y="48233"/>
                        <a:pt x="117608" y="53803"/>
                      </a:cubicBezTo>
                      <a:cubicBezTo>
                        <a:pt x="117376" y="59373"/>
                        <a:pt x="115805" y="64295"/>
                        <a:pt x="112895" y="68568"/>
                      </a:cubicBezTo>
                      <a:cubicBezTo>
                        <a:pt x="110187" y="72546"/>
                        <a:pt x="106559" y="75556"/>
                        <a:pt x="102010" y="77598"/>
                      </a:cubicBezTo>
                      <a:cubicBezTo>
                        <a:pt x="97461" y="79641"/>
                        <a:pt x="92273" y="80257"/>
                        <a:pt x="86446" y="79448"/>
                      </a:cubicBezTo>
                      <a:cubicBezTo>
                        <a:pt x="90949" y="84929"/>
                        <a:pt x="93360" y="90689"/>
                        <a:pt x="93677" y="96726"/>
                      </a:cubicBezTo>
                      <a:cubicBezTo>
                        <a:pt x="93994" y="102763"/>
                        <a:pt x="92309" y="108489"/>
                        <a:pt x="88621" y="113905"/>
                      </a:cubicBezTo>
                      <a:cubicBezTo>
                        <a:pt x="85654" y="118263"/>
                        <a:pt x="81975" y="121687"/>
                        <a:pt x="77585" y="124178"/>
                      </a:cubicBezTo>
                      <a:cubicBezTo>
                        <a:pt x="73195" y="126670"/>
                        <a:pt x="68955" y="128009"/>
                        <a:pt x="64864" y="128196"/>
                      </a:cubicBezTo>
                      <a:cubicBezTo>
                        <a:pt x="60774" y="128383"/>
                        <a:pt x="56334" y="127605"/>
                        <a:pt x="51545" y="125862"/>
                      </a:cubicBezTo>
                      <a:cubicBezTo>
                        <a:pt x="46756" y="124118"/>
                        <a:pt x="41400" y="121230"/>
                        <a:pt x="35477" y="117197"/>
                      </a:cubicBezTo>
                      <a:lnTo>
                        <a:pt x="0" y="93040"/>
                      </a:lnTo>
                      <a:lnTo>
                        <a:pt x="63350" y="0"/>
                      </a:lnTo>
                      <a:close/>
                      <a:moveTo>
                        <a:pt x="68186" y="19363"/>
                      </a:moveTo>
                      <a:lnTo>
                        <a:pt x="49043" y="47478"/>
                      </a:lnTo>
                      <a:lnTo>
                        <a:pt x="69162" y="61177"/>
                      </a:lnTo>
                      <a:cubicBezTo>
                        <a:pt x="74620" y="64893"/>
                        <a:pt x="78778" y="67198"/>
                        <a:pt x="81637" y="68092"/>
                      </a:cubicBezTo>
                      <a:cubicBezTo>
                        <a:pt x="85402" y="69293"/>
                        <a:pt x="88812" y="69355"/>
                        <a:pt x="91868" y="68278"/>
                      </a:cubicBezTo>
                      <a:cubicBezTo>
                        <a:pt x="94924" y="67200"/>
                        <a:pt x="97561" y="65032"/>
                        <a:pt x="99779" y="61774"/>
                      </a:cubicBezTo>
                      <a:cubicBezTo>
                        <a:pt x="101883" y="58686"/>
                        <a:pt x="102993" y="55463"/>
                        <a:pt x="103111" y="52107"/>
                      </a:cubicBezTo>
                      <a:cubicBezTo>
                        <a:pt x="103229" y="48750"/>
                        <a:pt x="102208" y="45702"/>
                        <a:pt x="100049" y="42962"/>
                      </a:cubicBezTo>
                      <a:cubicBezTo>
                        <a:pt x="97889" y="40222"/>
                        <a:pt x="93467" y="36576"/>
                        <a:pt x="86782" y="32024"/>
                      </a:cubicBezTo>
                      <a:lnTo>
                        <a:pt x="68186" y="19363"/>
                      </a:lnTo>
                      <a:close/>
                      <a:moveTo>
                        <a:pt x="41567" y="58458"/>
                      </a:moveTo>
                      <a:lnTo>
                        <a:pt x="19788" y="90444"/>
                      </a:lnTo>
                      <a:lnTo>
                        <a:pt x="42953" y="106217"/>
                      </a:lnTo>
                      <a:cubicBezTo>
                        <a:pt x="46930" y="108925"/>
                        <a:pt x="49823" y="110678"/>
                        <a:pt x="51633" y="111477"/>
                      </a:cubicBezTo>
                      <a:cubicBezTo>
                        <a:pt x="54813" y="112899"/>
                        <a:pt x="57759" y="113667"/>
                        <a:pt x="60469" y="113778"/>
                      </a:cubicBezTo>
                      <a:cubicBezTo>
                        <a:pt x="63180" y="113890"/>
                        <a:pt x="65919" y="113232"/>
                        <a:pt x="68688" y="111804"/>
                      </a:cubicBezTo>
                      <a:cubicBezTo>
                        <a:pt x="71456" y="110375"/>
                        <a:pt x="73848" y="108180"/>
                        <a:pt x="75865" y="105219"/>
                      </a:cubicBezTo>
                      <a:cubicBezTo>
                        <a:pt x="78227" y="101749"/>
                        <a:pt x="79391" y="98130"/>
                        <a:pt x="79357" y="94360"/>
                      </a:cubicBezTo>
                      <a:cubicBezTo>
                        <a:pt x="79323" y="90590"/>
                        <a:pt x="78083" y="87114"/>
                        <a:pt x="75637" y="83931"/>
                      </a:cubicBezTo>
                      <a:cubicBezTo>
                        <a:pt x="73190" y="80748"/>
                        <a:pt x="69005" y="77140"/>
                        <a:pt x="63082" y="73107"/>
                      </a:cubicBezTo>
                      <a:lnTo>
                        <a:pt x="41567" y="58458"/>
                      </a:lnTo>
                      <a:close/>
                    </a:path>
                  </a:pathLst>
                </a:custGeom>
                <a:grp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sp>
              <p:nvSpPr>
                <p:cNvPr id="64" name="Forme libre : forme 34"/>
                <p:cNvSpPr/>
                <p:nvPr/>
              </p:nvSpPr>
              <p:spPr bwMode="auto">
                <a:xfrm>
                  <a:off x="6396790" y="3432282"/>
                  <a:ext cx="144951" cy="132095"/>
                </a:xfrm>
                <a:custGeom>
                  <a:avLst/>
                  <a:gdLst/>
                  <a:ahLst/>
                  <a:cxnLst/>
                  <a:rect l="l" t="t" r="r" b="b"/>
                  <a:pathLst>
                    <a:path w="144951" h="132095">
                      <a:moveTo>
                        <a:pt x="62271" y="588"/>
                      </a:moveTo>
                      <a:cubicBezTo>
                        <a:pt x="67737" y="-623"/>
                        <a:pt x="73188" y="38"/>
                        <a:pt x="78624" y="2568"/>
                      </a:cubicBezTo>
                      <a:cubicBezTo>
                        <a:pt x="84059" y="5099"/>
                        <a:pt x="88493" y="8942"/>
                        <a:pt x="91926" y="14098"/>
                      </a:cubicBezTo>
                      <a:cubicBezTo>
                        <a:pt x="96350" y="20745"/>
                        <a:pt x="97929" y="27780"/>
                        <a:pt x="96660" y="35204"/>
                      </a:cubicBezTo>
                      <a:cubicBezTo>
                        <a:pt x="95392" y="42628"/>
                        <a:pt x="90674" y="49951"/>
                        <a:pt x="82506" y="57171"/>
                      </a:cubicBezTo>
                      <a:cubicBezTo>
                        <a:pt x="86836" y="56564"/>
                        <a:pt x="90364" y="56460"/>
                        <a:pt x="93089" y="56859"/>
                      </a:cubicBezTo>
                      <a:cubicBezTo>
                        <a:pt x="98924" y="57772"/>
                        <a:pt x="105119" y="59643"/>
                        <a:pt x="111676" y="62472"/>
                      </a:cubicBezTo>
                      <a:lnTo>
                        <a:pt x="144951" y="77124"/>
                      </a:lnTo>
                      <a:lnTo>
                        <a:pt x="129356" y="87506"/>
                      </a:lnTo>
                      <a:lnTo>
                        <a:pt x="103979" y="76266"/>
                      </a:lnTo>
                      <a:cubicBezTo>
                        <a:pt x="96614" y="73053"/>
                        <a:pt x="90766" y="70735"/>
                        <a:pt x="86437" y="69312"/>
                      </a:cubicBezTo>
                      <a:cubicBezTo>
                        <a:pt x="82108" y="67890"/>
                        <a:pt x="78620" y="67199"/>
                        <a:pt x="75972" y="67240"/>
                      </a:cubicBezTo>
                      <a:cubicBezTo>
                        <a:pt x="73324" y="67280"/>
                        <a:pt x="70886" y="67705"/>
                        <a:pt x="68656" y="68513"/>
                      </a:cubicBezTo>
                      <a:cubicBezTo>
                        <a:pt x="67052" y="69150"/>
                        <a:pt x="64651" y="70533"/>
                        <a:pt x="61456" y="72660"/>
                      </a:cubicBezTo>
                      <a:lnTo>
                        <a:pt x="47075" y="82233"/>
                      </a:lnTo>
                      <a:lnTo>
                        <a:pt x="74773" y="123841"/>
                      </a:lnTo>
                      <a:lnTo>
                        <a:pt x="62374" y="132095"/>
                      </a:lnTo>
                      <a:lnTo>
                        <a:pt x="0" y="38398"/>
                      </a:lnTo>
                      <a:lnTo>
                        <a:pt x="41544" y="10742"/>
                      </a:lnTo>
                      <a:cubicBezTo>
                        <a:pt x="49895" y="5183"/>
                        <a:pt x="56804" y="1798"/>
                        <a:pt x="62271" y="588"/>
                      </a:cubicBezTo>
                      <a:close/>
                      <a:moveTo>
                        <a:pt x="67042" y="14890"/>
                      </a:moveTo>
                      <a:cubicBezTo>
                        <a:pt x="61924" y="14177"/>
                        <a:pt x="55893" y="16132"/>
                        <a:pt x="48948" y="20756"/>
                      </a:cubicBezTo>
                      <a:lnTo>
                        <a:pt x="19292" y="40498"/>
                      </a:lnTo>
                      <a:lnTo>
                        <a:pt x="39927" y="71496"/>
                      </a:lnTo>
                      <a:lnTo>
                        <a:pt x="66579" y="53754"/>
                      </a:lnTo>
                      <a:cubicBezTo>
                        <a:pt x="72246" y="49981"/>
                        <a:pt x="76288" y="46445"/>
                        <a:pt x="78703" y="43146"/>
                      </a:cubicBezTo>
                      <a:cubicBezTo>
                        <a:pt x="81119" y="39847"/>
                        <a:pt x="82299" y="36355"/>
                        <a:pt x="82245" y="32671"/>
                      </a:cubicBezTo>
                      <a:cubicBezTo>
                        <a:pt x="82191" y="28987"/>
                        <a:pt x="81157" y="25633"/>
                        <a:pt x="79143" y="22607"/>
                      </a:cubicBezTo>
                      <a:cubicBezTo>
                        <a:pt x="76193" y="18176"/>
                        <a:pt x="72159" y="15604"/>
                        <a:pt x="67042" y="14890"/>
                      </a:cubicBezTo>
                      <a:close/>
                    </a:path>
                  </a:pathLst>
                </a:custGeom>
                <a:grp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sp>
              <p:nvSpPr>
                <p:cNvPr id="65" name="Forme libre : forme 35"/>
                <p:cNvSpPr/>
                <p:nvPr/>
              </p:nvSpPr>
              <p:spPr bwMode="auto">
                <a:xfrm>
                  <a:off x="6038464" y="3470056"/>
                  <a:ext cx="395081" cy="146900"/>
                </a:xfrm>
                <a:custGeom>
                  <a:avLst/>
                  <a:gdLst/>
                  <a:ahLst/>
                  <a:cxnLst/>
                  <a:rect l="l" t="t" r="r" b="b"/>
                  <a:pathLst>
                    <a:path w="395081" h="146900">
                      <a:moveTo>
                        <a:pt x="39012" y="0"/>
                      </a:moveTo>
                      <a:lnTo>
                        <a:pt x="115355" y="28207"/>
                      </a:lnTo>
                      <a:lnTo>
                        <a:pt x="115283" y="28401"/>
                      </a:lnTo>
                      <a:lnTo>
                        <a:pt x="195654" y="38181"/>
                      </a:lnTo>
                      <a:lnTo>
                        <a:pt x="279171" y="29751"/>
                      </a:lnTo>
                      <a:lnTo>
                        <a:pt x="278880" y="28910"/>
                      </a:lnTo>
                      <a:lnTo>
                        <a:pt x="355789" y="2284"/>
                      </a:lnTo>
                      <a:lnTo>
                        <a:pt x="360134" y="14836"/>
                      </a:lnTo>
                      <a:lnTo>
                        <a:pt x="297302" y="36589"/>
                      </a:lnTo>
                      <a:lnTo>
                        <a:pt x="308580" y="69166"/>
                      </a:lnTo>
                      <a:lnTo>
                        <a:pt x="367422" y="48795"/>
                      </a:lnTo>
                      <a:lnTo>
                        <a:pt x="371743" y="61274"/>
                      </a:lnTo>
                      <a:lnTo>
                        <a:pt x="312901" y="81646"/>
                      </a:lnTo>
                      <a:lnTo>
                        <a:pt x="325435" y="117851"/>
                      </a:lnTo>
                      <a:lnTo>
                        <a:pt x="390735" y="95243"/>
                      </a:lnTo>
                      <a:lnTo>
                        <a:pt x="395081" y="107795"/>
                      </a:lnTo>
                      <a:lnTo>
                        <a:pt x="315705" y="135276"/>
                      </a:lnTo>
                      <a:lnTo>
                        <a:pt x="280264" y="32908"/>
                      </a:lnTo>
                      <a:lnTo>
                        <a:pt x="281272" y="42889"/>
                      </a:lnTo>
                      <a:lnTo>
                        <a:pt x="244221" y="46629"/>
                      </a:lnTo>
                      <a:lnTo>
                        <a:pt x="254192" y="145404"/>
                      </a:lnTo>
                      <a:lnTo>
                        <a:pt x="239372" y="146900"/>
                      </a:lnTo>
                      <a:lnTo>
                        <a:pt x="229401" y="48125"/>
                      </a:lnTo>
                      <a:lnTo>
                        <a:pt x="198363" y="51258"/>
                      </a:lnTo>
                      <a:lnTo>
                        <a:pt x="198287" y="51882"/>
                      </a:lnTo>
                      <a:lnTo>
                        <a:pt x="195519" y="51545"/>
                      </a:lnTo>
                      <a:lnTo>
                        <a:pt x="192504" y="51850"/>
                      </a:lnTo>
                      <a:lnTo>
                        <a:pt x="192435" y="51170"/>
                      </a:lnTo>
                      <a:lnTo>
                        <a:pt x="161321" y="47384"/>
                      </a:lnTo>
                      <a:lnTo>
                        <a:pt x="149329" y="145934"/>
                      </a:lnTo>
                      <a:lnTo>
                        <a:pt x="134542" y="144135"/>
                      </a:lnTo>
                      <a:lnTo>
                        <a:pt x="146535" y="45585"/>
                      </a:lnTo>
                      <a:lnTo>
                        <a:pt x="109721" y="41105"/>
                      </a:lnTo>
                      <a:lnTo>
                        <a:pt x="109817" y="40322"/>
                      </a:lnTo>
                      <a:lnTo>
                        <a:pt x="48380" y="17622"/>
                      </a:lnTo>
                      <a:lnTo>
                        <a:pt x="36432" y="49959"/>
                      </a:lnTo>
                      <a:lnTo>
                        <a:pt x="94841" y="71541"/>
                      </a:lnTo>
                      <a:lnTo>
                        <a:pt x="90264" y="83929"/>
                      </a:lnTo>
                      <a:lnTo>
                        <a:pt x="31855" y="62347"/>
                      </a:lnTo>
                      <a:lnTo>
                        <a:pt x="18576" y="98286"/>
                      </a:lnTo>
                      <a:lnTo>
                        <a:pt x="83395" y="122236"/>
                      </a:lnTo>
                      <a:lnTo>
                        <a:pt x="78792" y="134695"/>
                      </a:lnTo>
                      <a:lnTo>
                        <a:pt x="0" y="105583"/>
                      </a:lnTo>
                      <a:lnTo>
                        <a:pt x="39012" y="0"/>
                      </a:lnTo>
                      <a:close/>
                    </a:path>
                  </a:pathLst>
                </a:custGeom>
                <a:grp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grpSp>
            <p:nvGrpSpPr>
              <p:cNvPr id="25" name="Groupe 9"/>
              <p:cNvGrpSpPr/>
              <p:nvPr/>
            </p:nvGrpSpPr>
            <p:grpSpPr>
              <a:xfrm>
                <a:off x="5954240" y="2841527"/>
                <a:ext cx="576000" cy="576000"/>
                <a:chOff x="4725739" y="3694283"/>
                <a:chExt cx="576000" cy="576000"/>
              </a:xfrm>
            </p:grpSpPr>
            <p:sp>
              <p:nvSpPr>
                <p:cNvPr id="26" name="Ellipse 10"/>
                <p:cNvSpPr>
                  <a:spLocks noChangeAspect="1"/>
                </p:cNvSpPr>
                <p:nvPr/>
              </p:nvSpPr>
              <p:spPr bwMode="auto">
                <a:xfrm>
                  <a:off x="4725739" y="3694283"/>
                  <a:ext cx="576000" cy="576000"/>
                </a:xfrm>
                <a:prstGeom prst="ellipse">
                  <a:avLst/>
                </a:prstGeom>
                <a:solidFill>
                  <a:srgbClr val="FFC000"/>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27" name="Groupe 11"/>
                <p:cNvGrpSpPr>
                  <a:grpSpLocks noChangeAspect="1"/>
                </p:cNvGrpSpPr>
                <p:nvPr/>
              </p:nvGrpSpPr>
              <p:grpSpPr>
                <a:xfrm>
                  <a:off x="4857841" y="3793336"/>
                  <a:ext cx="311987" cy="377018"/>
                  <a:chOff x="4931827" y="2459494"/>
                  <a:chExt cx="2020757" cy="2441964"/>
                </a:xfrm>
              </p:grpSpPr>
              <p:sp>
                <p:nvSpPr>
                  <p:cNvPr id="28" name="Line 309"/>
                  <p:cNvSpPr>
                    <a:spLocks noChangeShapeType="1"/>
                  </p:cNvSpPr>
                  <p:nvPr/>
                </p:nvSpPr>
                <p:spPr bwMode="auto">
                  <a:xfrm>
                    <a:off x="5876541" y="4268120"/>
                    <a:ext cx="252000"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29" name="Freeform 302"/>
                  <p:cNvSpPr>
                    <a:spLocks/>
                  </p:cNvSpPr>
                  <p:nvPr/>
                </p:nvSpPr>
                <p:spPr bwMode="auto">
                  <a:xfrm>
                    <a:off x="5451027" y="2459494"/>
                    <a:ext cx="1501557" cy="1845805"/>
                  </a:xfrm>
                  <a:custGeom>
                    <a:avLst/>
                    <a:gdLst>
                      <a:gd name="connsiteX0" fmla="*/ 10000 w 10000"/>
                      <a:gd name="connsiteY0" fmla="*/ 2086 h 8911"/>
                      <a:gd name="connsiteX1" fmla="*/ 6219 w 10000"/>
                      <a:gd name="connsiteY1" fmla="*/ 0 h 8911"/>
                      <a:gd name="connsiteX2" fmla="*/ 0 w 10000"/>
                      <a:gd name="connsiteY2" fmla="*/ 0 h 8911"/>
                      <a:gd name="connsiteX3" fmla="*/ 16 w 10000"/>
                      <a:gd name="connsiteY3" fmla="*/ 8911 h 8911"/>
                      <a:gd name="connsiteX0" fmla="*/ 10000 w 10000"/>
                      <a:gd name="connsiteY0" fmla="*/ 2341 h 9974"/>
                      <a:gd name="connsiteX1" fmla="*/ 6219 w 10000"/>
                      <a:gd name="connsiteY1" fmla="*/ 0 h 9974"/>
                      <a:gd name="connsiteX2" fmla="*/ 0 w 10000"/>
                      <a:gd name="connsiteY2" fmla="*/ 0 h 9974"/>
                      <a:gd name="connsiteX3" fmla="*/ 16 w 10000"/>
                      <a:gd name="connsiteY3" fmla="*/ 9974 h 9974"/>
                    </a:gdLst>
                    <a:ahLst/>
                    <a:cxnLst>
                      <a:cxn ang="0">
                        <a:pos x="connsiteX0" y="connsiteY0"/>
                      </a:cxn>
                      <a:cxn ang="0">
                        <a:pos x="connsiteX1" y="connsiteY1"/>
                      </a:cxn>
                      <a:cxn ang="0">
                        <a:pos x="connsiteX2" y="connsiteY2"/>
                      </a:cxn>
                      <a:cxn ang="0">
                        <a:pos x="connsiteX3" y="connsiteY3"/>
                      </a:cxn>
                    </a:cxnLst>
                    <a:rect l="l" t="t" r="r" b="b"/>
                    <a:pathLst>
                      <a:path w="10000" h="9974">
                        <a:moveTo>
                          <a:pt x="10000" y="2341"/>
                        </a:moveTo>
                        <a:lnTo>
                          <a:pt x="6219" y="0"/>
                        </a:lnTo>
                        <a:lnTo>
                          <a:pt x="0" y="0"/>
                        </a:lnTo>
                        <a:cubicBezTo>
                          <a:pt x="0" y="3740"/>
                          <a:pt x="16" y="6234"/>
                          <a:pt x="16" y="997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0" name="Freeform 156"/>
                  <p:cNvSpPr>
                    <a:spLocks/>
                  </p:cNvSpPr>
                  <p:nvPr/>
                </p:nvSpPr>
                <p:spPr bwMode="auto">
                  <a:xfrm>
                    <a:off x="4931827" y="3939712"/>
                    <a:ext cx="518450" cy="305367"/>
                  </a:xfrm>
                  <a:custGeom>
                    <a:avLst/>
                    <a:gdLst>
                      <a:gd name="connsiteX0" fmla="*/ 0 w 10000"/>
                      <a:gd name="connsiteY0" fmla="*/ 5625 h 10000"/>
                      <a:gd name="connsiteX1" fmla="*/ 1976 w 10000"/>
                      <a:gd name="connsiteY1" fmla="*/ 1125 h 10000"/>
                      <a:gd name="connsiteX2" fmla="*/ 2540 w 10000"/>
                      <a:gd name="connsiteY2" fmla="*/ 2000 h 10000"/>
                      <a:gd name="connsiteX3" fmla="*/ 2540 w 10000"/>
                      <a:gd name="connsiteY3" fmla="*/ 0 h 10000"/>
                      <a:gd name="connsiteX4" fmla="*/ 10000 w 10000"/>
                      <a:gd name="connsiteY4" fmla="*/ 0 h 10000"/>
                      <a:gd name="connsiteX5" fmla="*/ 10000 w 10000"/>
                      <a:gd name="connsiteY5" fmla="*/ 10000 h 10000"/>
                      <a:gd name="connsiteX6" fmla="*/ 7621 w 10000"/>
                      <a:gd name="connsiteY6" fmla="*/ 10000 h 10000"/>
                      <a:gd name="connsiteX0" fmla="*/ 0 w 10000"/>
                      <a:gd name="connsiteY0" fmla="*/ 5625 h 10000"/>
                      <a:gd name="connsiteX1" fmla="*/ 1976 w 10000"/>
                      <a:gd name="connsiteY1" fmla="*/ 1125 h 10000"/>
                      <a:gd name="connsiteX2" fmla="*/ 2540 w 10000"/>
                      <a:gd name="connsiteY2" fmla="*/ 2000 h 10000"/>
                      <a:gd name="connsiteX3" fmla="*/ 2540 w 10000"/>
                      <a:gd name="connsiteY3" fmla="*/ 0 h 10000"/>
                      <a:gd name="connsiteX4" fmla="*/ 10000 w 10000"/>
                      <a:gd name="connsiteY4" fmla="*/ 0 h 10000"/>
                      <a:gd name="connsiteX5" fmla="*/ 10000 w 10000"/>
                      <a:gd name="connsiteY5" fmla="*/ 10000 h 10000"/>
                      <a:gd name="connsiteX0" fmla="*/ 0 w 10000"/>
                      <a:gd name="connsiteY0" fmla="*/ 5625 h 5625"/>
                      <a:gd name="connsiteX1" fmla="*/ 1976 w 10000"/>
                      <a:gd name="connsiteY1" fmla="*/ 1125 h 5625"/>
                      <a:gd name="connsiteX2" fmla="*/ 2540 w 10000"/>
                      <a:gd name="connsiteY2" fmla="*/ 2000 h 5625"/>
                      <a:gd name="connsiteX3" fmla="*/ 2540 w 10000"/>
                      <a:gd name="connsiteY3" fmla="*/ 0 h 5625"/>
                      <a:gd name="connsiteX4" fmla="*/ 10000 w 10000"/>
                      <a:gd name="connsiteY4" fmla="*/ 0 h 5625"/>
                      <a:gd name="connsiteX0" fmla="*/ 0 w 2540"/>
                      <a:gd name="connsiteY0" fmla="*/ 10000 h 10000"/>
                      <a:gd name="connsiteX1" fmla="*/ 1976 w 2540"/>
                      <a:gd name="connsiteY1" fmla="*/ 2000 h 10000"/>
                      <a:gd name="connsiteX2" fmla="*/ 2540 w 2540"/>
                      <a:gd name="connsiteY2" fmla="*/ 3556 h 10000"/>
                      <a:gd name="connsiteX3" fmla="*/ 2540 w 2540"/>
                      <a:gd name="connsiteY3" fmla="*/ 0 h 10000"/>
                      <a:gd name="connsiteX0" fmla="*/ 0 w 10000"/>
                      <a:gd name="connsiteY0" fmla="*/ 8308 h 8308"/>
                      <a:gd name="connsiteX1" fmla="*/ 7780 w 10000"/>
                      <a:gd name="connsiteY1" fmla="*/ 308 h 8308"/>
                      <a:gd name="connsiteX2" fmla="*/ 10000 w 10000"/>
                      <a:gd name="connsiteY2" fmla="*/ 1864 h 8308"/>
                    </a:gdLst>
                    <a:ahLst/>
                    <a:cxnLst>
                      <a:cxn ang="0">
                        <a:pos x="connsiteX0" y="connsiteY0"/>
                      </a:cxn>
                      <a:cxn ang="0">
                        <a:pos x="connsiteX1" y="connsiteY1"/>
                      </a:cxn>
                      <a:cxn ang="0">
                        <a:pos x="connsiteX2" y="connsiteY2"/>
                      </a:cxn>
                    </a:cxnLst>
                    <a:rect l="l" t="t" r="r" b="b"/>
                    <a:pathLst>
                      <a:path w="10000" h="8308">
                        <a:moveTo>
                          <a:pt x="0" y="8308"/>
                        </a:moveTo>
                        <a:lnTo>
                          <a:pt x="7780" y="308"/>
                        </a:lnTo>
                        <a:cubicBezTo>
                          <a:pt x="7780" y="308"/>
                          <a:pt x="9209" y="-1025"/>
                          <a:pt x="10000" y="186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1" name="Freeform 157"/>
                  <p:cNvSpPr>
                    <a:spLocks/>
                  </p:cNvSpPr>
                  <p:nvPr/>
                </p:nvSpPr>
                <p:spPr bwMode="auto">
                  <a:xfrm>
                    <a:off x="4943904" y="4209405"/>
                    <a:ext cx="887254" cy="563838"/>
                  </a:xfrm>
                  <a:custGeom>
                    <a:avLst/>
                    <a:gdLst>
                      <a:gd name="connsiteX0" fmla="*/ 4091 w 9835"/>
                      <a:gd name="connsiteY0" fmla="*/ 2475 h 9300"/>
                      <a:gd name="connsiteX1" fmla="*/ 8364 w 9835"/>
                      <a:gd name="connsiteY1" fmla="*/ 178 h 9300"/>
                      <a:gd name="connsiteX2" fmla="*/ 9727 w 9835"/>
                      <a:gd name="connsiteY2" fmla="*/ 853 h 9300"/>
                      <a:gd name="connsiteX3" fmla="*/ 8818 w 9835"/>
                      <a:gd name="connsiteY3" fmla="*/ 3421 h 9300"/>
                      <a:gd name="connsiteX4" fmla="*/ 4364 w 9835"/>
                      <a:gd name="connsiteY4" fmla="*/ 7475 h 9300"/>
                      <a:gd name="connsiteX5" fmla="*/ 0 w 9835"/>
                      <a:gd name="connsiteY5" fmla="*/ 9232 h 9300"/>
                      <a:gd name="connsiteX0" fmla="*/ 4160 w 9994"/>
                      <a:gd name="connsiteY0" fmla="*/ 2661 h 10000"/>
                      <a:gd name="connsiteX1" fmla="*/ 8504 w 9994"/>
                      <a:gd name="connsiteY1" fmla="*/ 191 h 10000"/>
                      <a:gd name="connsiteX2" fmla="*/ 9890 w 9994"/>
                      <a:gd name="connsiteY2" fmla="*/ 917 h 10000"/>
                      <a:gd name="connsiteX3" fmla="*/ 8966 w 9994"/>
                      <a:gd name="connsiteY3" fmla="*/ 3678 h 10000"/>
                      <a:gd name="connsiteX4" fmla="*/ 4437 w 9994"/>
                      <a:gd name="connsiteY4" fmla="*/ 8038 h 10000"/>
                      <a:gd name="connsiteX5" fmla="*/ 0 w 9994"/>
                      <a:gd name="connsiteY5" fmla="*/ 992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94" h="10000">
                        <a:moveTo>
                          <a:pt x="4160" y="2661"/>
                        </a:moveTo>
                        <a:lnTo>
                          <a:pt x="8504" y="191"/>
                        </a:lnTo>
                        <a:cubicBezTo>
                          <a:pt x="8504" y="191"/>
                          <a:pt x="9529" y="-559"/>
                          <a:pt x="9890" y="917"/>
                        </a:cubicBezTo>
                        <a:cubicBezTo>
                          <a:pt x="10075" y="2225"/>
                          <a:pt x="10141" y="2656"/>
                          <a:pt x="8966" y="3678"/>
                        </a:cubicBezTo>
                        <a:cubicBezTo>
                          <a:pt x="7764" y="4551"/>
                          <a:pt x="5176" y="7456"/>
                          <a:pt x="4437" y="8038"/>
                        </a:cubicBezTo>
                        <a:cubicBezTo>
                          <a:pt x="3604" y="8765"/>
                          <a:pt x="1941" y="10362"/>
                          <a:pt x="0" y="992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2" name="Freeform 158"/>
                  <p:cNvSpPr>
                    <a:spLocks/>
                  </p:cNvSpPr>
                  <p:nvPr/>
                </p:nvSpPr>
                <p:spPr bwMode="auto">
                  <a:xfrm>
                    <a:off x="5307224" y="4551164"/>
                    <a:ext cx="303141" cy="296403"/>
                  </a:xfrm>
                  <a:custGeom>
                    <a:avLst/>
                    <a:gdLst/>
                    <a:ahLst/>
                    <a:cxnLst>
                      <a:cxn ang="0">
                        <a:pos x="0" y="17"/>
                      </a:cxn>
                      <a:cxn ang="0">
                        <a:pos x="17" y="30"/>
                      </a:cxn>
                      <a:cxn ang="0">
                        <a:pos x="37" y="0"/>
                      </a:cxn>
                    </a:cxnLst>
                    <a:rect l="0" t="0" r="r" b="b"/>
                    <a:pathLst>
                      <a:path w="37" h="36">
                        <a:moveTo>
                          <a:pt x="0" y="17"/>
                        </a:moveTo>
                        <a:cubicBezTo>
                          <a:pt x="0" y="17"/>
                          <a:pt x="0" y="36"/>
                          <a:pt x="17" y="30"/>
                        </a:cubicBezTo>
                        <a:cubicBezTo>
                          <a:pt x="30" y="25"/>
                          <a:pt x="37" y="0"/>
                          <a:pt x="37" y="0"/>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33" name="Freeform 159"/>
                  <p:cNvSpPr>
                    <a:spLocks/>
                  </p:cNvSpPr>
                  <p:nvPr/>
                </p:nvSpPr>
                <p:spPr bwMode="auto">
                  <a:xfrm>
                    <a:off x="5520780" y="4551164"/>
                    <a:ext cx="282930" cy="350294"/>
                  </a:xfrm>
                  <a:custGeom>
                    <a:avLst/>
                    <a:gdLst/>
                    <a:ahLst/>
                    <a:cxnLst>
                      <a:cxn ang="0">
                        <a:pos x="0" y="24"/>
                      </a:cxn>
                      <a:cxn ang="0">
                        <a:pos x="15" y="36"/>
                      </a:cxn>
                      <a:cxn ang="0">
                        <a:pos x="34" y="0"/>
                      </a:cxn>
                    </a:cxnLst>
                    <a:rect l="0" t="0" r="r" b="b"/>
                    <a:pathLst>
                      <a:path w="34" h="43">
                        <a:moveTo>
                          <a:pt x="0" y="24"/>
                        </a:moveTo>
                        <a:cubicBezTo>
                          <a:pt x="0" y="24"/>
                          <a:pt x="0" y="43"/>
                          <a:pt x="15" y="36"/>
                        </a:cubicBezTo>
                        <a:cubicBezTo>
                          <a:pt x="26" y="32"/>
                          <a:pt x="34" y="0"/>
                          <a:pt x="34" y="0"/>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34" name="Freeform 160"/>
                  <p:cNvSpPr>
                    <a:spLocks/>
                  </p:cNvSpPr>
                  <p:nvPr/>
                </p:nvSpPr>
                <p:spPr bwMode="auto">
                  <a:xfrm>
                    <a:off x="5763676" y="4551164"/>
                    <a:ext cx="249250" cy="289669"/>
                  </a:xfrm>
                  <a:custGeom>
                    <a:avLst/>
                    <a:gdLst/>
                    <a:ahLst/>
                    <a:cxnLst>
                      <a:cxn ang="0">
                        <a:pos x="0" y="16"/>
                      </a:cxn>
                      <a:cxn ang="0">
                        <a:pos x="15" y="29"/>
                      </a:cxn>
                      <a:cxn ang="0">
                        <a:pos x="30" y="0"/>
                      </a:cxn>
                    </a:cxnLst>
                    <a:rect l="0" t="0" r="r" b="b"/>
                    <a:pathLst>
                      <a:path w="30" h="35">
                        <a:moveTo>
                          <a:pt x="0" y="16"/>
                        </a:moveTo>
                        <a:cubicBezTo>
                          <a:pt x="0" y="16"/>
                          <a:pt x="0" y="35"/>
                          <a:pt x="15" y="29"/>
                        </a:cubicBezTo>
                        <a:cubicBezTo>
                          <a:pt x="26" y="24"/>
                          <a:pt x="30" y="0"/>
                          <a:pt x="30" y="0"/>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35" name="Freeform 300"/>
                  <p:cNvSpPr>
                    <a:spLocks noChangeAspect="1"/>
                  </p:cNvSpPr>
                  <p:nvPr/>
                </p:nvSpPr>
                <p:spPr bwMode="auto">
                  <a:xfrm>
                    <a:off x="6397898" y="4154770"/>
                    <a:ext cx="342923" cy="198875"/>
                  </a:xfrm>
                  <a:custGeom>
                    <a:avLst/>
                    <a:gdLst>
                      <a:gd name="connsiteX0" fmla="*/ 0 w 10000"/>
                      <a:gd name="connsiteY0" fmla="*/ 6452 h 10000"/>
                      <a:gd name="connsiteX1" fmla="*/ 2353 w 10000"/>
                      <a:gd name="connsiteY1" fmla="*/ 10000 h 10000"/>
                      <a:gd name="connsiteX2" fmla="*/ 6134 w 10000"/>
                      <a:gd name="connsiteY2" fmla="*/ 5011 h 10000"/>
                      <a:gd name="connsiteX3" fmla="*/ 10000 w 10000"/>
                      <a:gd name="connsiteY3" fmla="*/ 0 h 10000"/>
                      <a:gd name="connsiteX0" fmla="*/ 0 w 10000"/>
                      <a:gd name="connsiteY0" fmla="*/ 6452 h 10000"/>
                      <a:gd name="connsiteX1" fmla="*/ 2353 w 10000"/>
                      <a:gd name="connsiteY1" fmla="*/ 10000 h 10000"/>
                      <a:gd name="connsiteX2" fmla="*/ 9584 w 10000"/>
                      <a:gd name="connsiteY2" fmla="*/ 1576 h 10000"/>
                      <a:gd name="connsiteX3" fmla="*/ 10000 w 10000"/>
                      <a:gd name="connsiteY3" fmla="*/ 0 h 10000"/>
                      <a:gd name="connsiteX0" fmla="*/ 0 w 9585"/>
                      <a:gd name="connsiteY0" fmla="*/ 4935 h 8483"/>
                      <a:gd name="connsiteX1" fmla="*/ 2353 w 9585"/>
                      <a:gd name="connsiteY1" fmla="*/ 8483 h 8483"/>
                      <a:gd name="connsiteX2" fmla="*/ 9584 w 9585"/>
                      <a:gd name="connsiteY2" fmla="*/ 59 h 8483"/>
                      <a:gd name="connsiteX3" fmla="*/ 1648 w 9585"/>
                      <a:gd name="connsiteY3" fmla="*/ 2217 h 8483"/>
                      <a:gd name="connsiteX0" fmla="*/ 0 w 10758"/>
                      <a:gd name="connsiteY0" fmla="*/ 6684 h 10866"/>
                      <a:gd name="connsiteX1" fmla="*/ 2455 w 10758"/>
                      <a:gd name="connsiteY1" fmla="*/ 10866 h 10866"/>
                      <a:gd name="connsiteX2" fmla="*/ 10757 w 10758"/>
                      <a:gd name="connsiteY2" fmla="*/ 56 h 10866"/>
                      <a:gd name="connsiteX3" fmla="*/ 1719 w 10758"/>
                      <a:gd name="connsiteY3" fmla="*/ 3479 h 10866"/>
                      <a:gd name="connsiteX0" fmla="*/ 0 w 10758"/>
                      <a:gd name="connsiteY0" fmla="*/ 6684 h 10866"/>
                      <a:gd name="connsiteX1" fmla="*/ 2455 w 10758"/>
                      <a:gd name="connsiteY1" fmla="*/ 10866 h 10866"/>
                      <a:gd name="connsiteX2" fmla="*/ 10757 w 10758"/>
                      <a:gd name="connsiteY2" fmla="*/ 56 h 10866"/>
                      <a:gd name="connsiteX3" fmla="*/ 1719 w 10758"/>
                      <a:gd name="connsiteY3" fmla="*/ 3479 h 10866"/>
                      <a:gd name="connsiteX0" fmla="*/ 0 w 10758"/>
                      <a:gd name="connsiteY0" fmla="*/ 5817 h 9999"/>
                      <a:gd name="connsiteX1" fmla="*/ 2455 w 10758"/>
                      <a:gd name="connsiteY1" fmla="*/ 9999 h 9999"/>
                      <a:gd name="connsiteX2" fmla="*/ 10757 w 10758"/>
                      <a:gd name="connsiteY2" fmla="*/ 69 h 9999"/>
                      <a:gd name="connsiteX3" fmla="*/ 1719 w 10758"/>
                      <a:gd name="connsiteY3" fmla="*/ 2612 h 9999"/>
                      <a:gd name="connsiteX0" fmla="*/ 0 w 10000"/>
                      <a:gd name="connsiteY0" fmla="*/ 5789 h 9971"/>
                      <a:gd name="connsiteX1" fmla="*/ 2282 w 10000"/>
                      <a:gd name="connsiteY1" fmla="*/ 9971 h 9971"/>
                      <a:gd name="connsiteX2" fmla="*/ 9999 w 10000"/>
                      <a:gd name="connsiteY2" fmla="*/ 40 h 9971"/>
                      <a:gd name="connsiteX3" fmla="*/ 2390 w 10000"/>
                      <a:gd name="connsiteY3" fmla="*/ 5752 h 9971"/>
                      <a:gd name="connsiteX0" fmla="*/ 0 w 10000"/>
                      <a:gd name="connsiteY0" fmla="*/ 5806 h 10000"/>
                      <a:gd name="connsiteX1" fmla="*/ 2282 w 10000"/>
                      <a:gd name="connsiteY1" fmla="*/ 10000 h 10000"/>
                      <a:gd name="connsiteX2" fmla="*/ 9999 w 10000"/>
                      <a:gd name="connsiteY2" fmla="*/ 40 h 10000"/>
                      <a:gd name="connsiteX3" fmla="*/ 2390 w 10000"/>
                      <a:gd name="connsiteY3" fmla="*/ 5769 h 10000"/>
                      <a:gd name="connsiteX0" fmla="*/ 0 w 10000"/>
                      <a:gd name="connsiteY0" fmla="*/ 5806 h 10000"/>
                      <a:gd name="connsiteX1" fmla="*/ 2282 w 10000"/>
                      <a:gd name="connsiteY1" fmla="*/ 10000 h 10000"/>
                      <a:gd name="connsiteX2" fmla="*/ 9999 w 10000"/>
                      <a:gd name="connsiteY2" fmla="*/ 40 h 10000"/>
                      <a:gd name="connsiteX3" fmla="*/ 2390 w 10000"/>
                      <a:gd name="connsiteY3" fmla="*/ 5769 h 10000"/>
                      <a:gd name="connsiteX0" fmla="*/ 0 w 10352"/>
                      <a:gd name="connsiteY0" fmla="*/ 7211 h 11405"/>
                      <a:gd name="connsiteX1" fmla="*/ 2282 w 10352"/>
                      <a:gd name="connsiteY1" fmla="*/ 11405 h 11405"/>
                      <a:gd name="connsiteX2" fmla="*/ 10351 w 10352"/>
                      <a:gd name="connsiteY2" fmla="*/ 32 h 11405"/>
                      <a:gd name="connsiteX3" fmla="*/ 2390 w 10352"/>
                      <a:gd name="connsiteY3" fmla="*/ 7174 h 11405"/>
                      <a:gd name="connsiteX0" fmla="*/ 0 w 11320"/>
                      <a:gd name="connsiteY0" fmla="*/ 9324 h 13518"/>
                      <a:gd name="connsiteX1" fmla="*/ 2282 w 11320"/>
                      <a:gd name="connsiteY1" fmla="*/ 13518 h 13518"/>
                      <a:gd name="connsiteX2" fmla="*/ 11319 w 11320"/>
                      <a:gd name="connsiteY2" fmla="*/ 26 h 13518"/>
                      <a:gd name="connsiteX3" fmla="*/ 2390 w 11320"/>
                      <a:gd name="connsiteY3" fmla="*/ 9287 h 13518"/>
                      <a:gd name="connsiteX0" fmla="*/ 0 w 11320"/>
                      <a:gd name="connsiteY0" fmla="*/ 9324 h 13518"/>
                      <a:gd name="connsiteX1" fmla="*/ 2282 w 11320"/>
                      <a:gd name="connsiteY1" fmla="*/ 13518 h 13518"/>
                      <a:gd name="connsiteX2" fmla="*/ 11319 w 11320"/>
                      <a:gd name="connsiteY2" fmla="*/ 26 h 13518"/>
                      <a:gd name="connsiteX3" fmla="*/ 2390 w 11320"/>
                      <a:gd name="connsiteY3" fmla="*/ 9287 h 13518"/>
                      <a:gd name="connsiteX0" fmla="*/ 0 w 11319"/>
                      <a:gd name="connsiteY0" fmla="*/ 9298 h 13492"/>
                      <a:gd name="connsiteX1" fmla="*/ 2282 w 11319"/>
                      <a:gd name="connsiteY1" fmla="*/ 13492 h 13492"/>
                      <a:gd name="connsiteX2" fmla="*/ 11319 w 11319"/>
                      <a:gd name="connsiteY2" fmla="*/ 0 h 13492"/>
                      <a:gd name="connsiteX3" fmla="*/ 2390 w 11319"/>
                      <a:gd name="connsiteY3" fmla="*/ 9261 h 13492"/>
                      <a:gd name="connsiteX0" fmla="*/ 0 w 11319"/>
                      <a:gd name="connsiteY0" fmla="*/ 9298 h 13492"/>
                      <a:gd name="connsiteX1" fmla="*/ 2282 w 11319"/>
                      <a:gd name="connsiteY1" fmla="*/ 13492 h 13492"/>
                      <a:gd name="connsiteX2" fmla="*/ 11319 w 11319"/>
                      <a:gd name="connsiteY2" fmla="*/ 0 h 13492"/>
                      <a:gd name="connsiteX3" fmla="*/ 2390 w 11319"/>
                      <a:gd name="connsiteY3" fmla="*/ 9261 h 13492"/>
                      <a:gd name="connsiteX0" fmla="*/ 0 w 11319"/>
                      <a:gd name="connsiteY0" fmla="*/ 9298 h 13492"/>
                      <a:gd name="connsiteX1" fmla="*/ 2282 w 11319"/>
                      <a:gd name="connsiteY1" fmla="*/ 13492 h 13492"/>
                      <a:gd name="connsiteX2" fmla="*/ 11319 w 11319"/>
                      <a:gd name="connsiteY2" fmla="*/ 0 h 13492"/>
                      <a:gd name="connsiteX3" fmla="*/ 2390 w 11319"/>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2918 w 11847"/>
                      <a:gd name="connsiteY3" fmla="*/ 9261 h 13492"/>
                      <a:gd name="connsiteX0" fmla="*/ 0 w 11847"/>
                      <a:gd name="connsiteY0" fmla="*/ 8768 h 13492"/>
                      <a:gd name="connsiteX1" fmla="*/ 2810 w 11847"/>
                      <a:gd name="connsiteY1" fmla="*/ 13492 h 13492"/>
                      <a:gd name="connsiteX2" fmla="*/ 11847 w 11847"/>
                      <a:gd name="connsiteY2" fmla="*/ 0 h 13492"/>
                      <a:gd name="connsiteX3" fmla="*/ 3886 w 11847"/>
                      <a:gd name="connsiteY3" fmla="*/ 8731 h 13492"/>
                      <a:gd name="connsiteX0" fmla="*/ 0 w 11847"/>
                      <a:gd name="connsiteY0" fmla="*/ 8768 h 13492"/>
                      <a:gd name="connsiteX1" fmla="*/ 2810 w 11847"/>
                      <a:gd name="connsiteY1" fmla="*/ 13492 h 13492"/>
                      <a:gd name="connsiteX2" fmla="*/ 11847 w 11847"/>
                      <a:gd name="connsiteY2" fmla="*/ 0 h 13492"/>
                      <a:gd name="connsiteX3" fmla="*/ 3886 w 11847"/>
                      <a:gd name="connsiteY3" fmla="*/ 9084 h 13492"/>
                      <a:gd name="connsiteX0" fmla="*/ 0 w 11847"/>
                      <a:gd name="connsiteY0" fmla="*/ 8768 h 13492"/>
                      <a:gd name="connsiteX1" fmla="*/ 2810 w 11847"/>
                      <a:gd name="connsiteY1" fmla="*/ 13492 h 13492"/>
                      <a:gd name="connsiteX2" fmla="*/ 11847 w 11847"/>
                      <a:gd name="connsiteY2" fmla="*/ 0 h 13492"/>
                      <a:gd name="connsiteX3" fmla="*/ 3886 w 11847"/>
                      <a:gd name="connsiteY3" fmla="*/ 9084 h 13492"/>
                      <a:gd name="connsiteX0" fmla="*/ 0 w 11847"/>
                      <a:gd name="connsiteY0" fmla="*/ 8768 h 12962"/>
                      <a:gd name="connsiteX1" fmla="*/ 3690 w 11847"/>
                      <a:gd name="connsiteY1" fmla="*/ 12962 h 12962"/>
                      <a:gd name="connsiteX2" fmla="*/ 11847 w 11847"/>
                      <a:gd name="connsiteY2" fmla="*/ 0 h 12962"/>
                      <a:gd name="connsiteX3" fmla="*/ 3886 w 11847"/>
                      <a:gd name="connsiteY3" fmla="*/ 9084 h 12962"/>
                      <a:gd name="connsiteX0" fmla="*/ 0 w 11847"/>
                      <a:gd name="connsiteY0" fmla="*/ 8768 h 12962"/>
                      <a:gd name="connsiteX1" fmla="*/ 3690 w 11847"/>
                      <a:gd name="connsiteY1" fmla="*/ 12962 h 12962"/>
                      <a:gd name="connsiteX2" fmla="*/ 11847 w 11847"/>
                      <a:gd name="connsiteY2" fmla="*/ 0 h 12962"/>
                      <a:gd name="connsiteX3" fmla="*/ 3886 w 11847"/>
                      <a:gd name="connsiteY3" fmla="*/ 9084 h 12962"/>
                      <a:gd name="connsiteX0" fmla="*/ 0 w 11847"/>
                      <a:gd name="connsiteY0" fmla="*/ 8768 h 12962"/>
                      <a:gd name="connsiteX1" fmla="*/ 3690 w 11847"/>
                      <a:gd name="connsiteY1" fmla="*/ 12962 h 12962"/>
                      <a:gd name="connsiteX2" fmla="*/ 11847 w 11847"/>
                      <a:gd name="connsiteY2" fmla="*/ 0 h 12962"/>
                      <a:gd name="connsiteX3" fmla="*/ 3886 w 11847"/>
                      <a:gd name="connsiteY3" fmla="*/ 9084 h 12962"/>
                      <a:gd name="connsiteX0" fmla="*/ 0 w 11143"/>
                      <a:gd name="connsiteY0" fmla="*/ 7885 h 12962"/>
                      <a:gd name="connsiteX1" fmla="*/ 2986 w 11143"/>
                      <a:gd name="connsiteY1" fmla="*/ 12962 h 12962"/>
                      <a:gd name="connsiteX2" fmla="*/ 11143 w 11143"/>
                      <a:gd name="connsiteY2" fmla="*/ 0 h 12962"/>
                      <a:gd name="connsiteX3" fmla="*/ 3182 w 11143"/>
                      <a:gd name="connsiteY3" fmla="*/ 9084 h 12962"/>
                    </a:gdLst>
                    <a:ahLst/>
                    <a:cxnLst>
                      <a:cxn ang="0">
                        <a:pos x="connsiteX0" y="connsiteY0"/>
                      </a:cxn>
                      <a:cxn ang="0">
                        <a:pos x="connsiteX1" y="connsiteY1"/>
                      </a:cxn>
                      <a:cxn ang="0">
                        <a:pos x="connsiteX2" y="connsiteY2"/>
                      </a:cxn>
                      <a:cxn ang="0">
                        <a:pos x="connsiteX3" y="connsiteY3"/>
                      </a:cxn>
                    </a:cxnLst>
                    <a:rect l="l" t="t" r="r" b="b"/>
                    <a:pathLst>
                      <a:path w="11143" h="12962">
                        <a:moveTo>
                          <a:pt x="0" y="7885"/>
                        </a:moveTo>
                        <a:cubicBezTo>
                          <a:pt x="1025" y="8753"/>
                          <a:pt x="2401" y="10328"/>
                          <a:pt x="2986" y="12962"/>
                        </a:cubicBezTo>
                        <a:cubicBezTo>
                          <a:pt x="4062" y="9525"/>
                          <a:pt x="7163" y="2200"/>
                          <a:pt x="11143" y="0"/>
                        </a:cubicBezTo>
                        <a:cubicBezTo>
                          <a:pt x="6348" y="968"/>
                          <a:pt x="3047" y="9705"/>
                          <a:pt x="3182" y="908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nvGrpSpPr>
                  <p:cNvPr id="36" name="Groupe 20"/>
                  <p:cNvGrpSpPr>
                    <a:grpSpLocks noChangeAspect="1"/>
                  </p:cNvGrpSpPr>
                  <p:nvPr/>
                </p:nvGrpSpPr>
                <p:grpSpPr>
                  <a:xfrm>
                    <a:off x="5684844" y="2789589"/>
                    <a:ext cx="436286" cy="459743"/>
                    <a:chOff x="4541119" y="2866512"/>
                    <a:chExt cx="459241" cy="483932"/>
                  </a:xfrm>
                </p:grpSpPr>
                <p:sp>
                  <p:nvSpPr>
                    <p:cNvPr id="59" name="Freeform 588"/>
                    <p:cNvSpPr>
                      <a:spLocks/>
                    </p:cNvSpPr>
                    <p:nvPr/>
                  </p:nvSpPr>
                  <p:spPr bwMode="auto">
                    <a:xfrm>
                      <a:off x="4541119" y="2891204"/>
                      <a:ext cx="459240" cy="459240"/>
                    </a:xfrm>
                    <a:custGeom>
                      <a:avLst/>
                      <a:gdLst/>
                      <a:ahLst/>
                      <a:cxnLst>
                        <a:cxn ang="0">
                          <a:pos x="74" y="26"/>
                        </a:cxn>
                        <a:cxn ang="0">
                          <a:pos x="76" y="38"/>
                        </a:cxn>
                        <a:cxn ang="0">
                          <a:pos x="38" y="76"/>
                        </a:cxn>
                        <a:cxn ang="0">
                          <a:pos x="0" y="38"/>
                        </a:cxn>
                        <a:cxn ang="0">
                          <a:pos x="38" y="0"/>
                        </a:cxn>
                      </a:cxnLst>
                      <a:rect l="0" t="0" r="r" b="b"/>
                      <a:pathLst>
                        <a:path w="76" h="76">
                          <a:moveTo>
                            <a:pt x="74" y="26"/>
                          </a:moveTo>
                          <a:cubicBezTo>
                            <a:pt x="76" y="30"/>
                            <a:pt x="76" y="34"/>
                            <a:pt x="76" y="38"/>
                          </a:cubicBezTo>
                          <a:cubicBezTo>
                            <a:pt x="76" y="59"/>
                            <a:pt x="59" y="76"/>
                            <a:pt x="38" y="76"/>
                          </a:cubicBezTo>
                          <a:cubicBezTo>
                            <a:pt x="17" y="76"/>
                            <a:pt x="0" y="59"/>
                            <a:pt x="0" y="38"/>
                          </a:cubicBezTo>
                          <a:cubicBezTo>
                            <a:pt x="0" y="17"/>
                            <a:pt x="17" y="0"/>
                            <a:pt x="38"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62" name="Freeform 589"/>
                    <p:cNvSpPr>
                      <a:spLocks/>
                    </p:cNvSpPr>
                    <p:nvPr/>
                  </p:nvSpPr>
                  <p:spPr bwMode="auto">
                    <a:xfrm>
                      <a:off x="4753457" y="2866512"/>
                      <a:ext cx="246903" cy="266655"/>
                    </a:xfrm>
                    <a:custGeom>
                      <a:avLst/>
                      <a:gdLst/>
                      <a:ahLst/>
                      <a:cxnLst>
                        <a:cxn ang="0">
                          <a:pos x="12" y="0"/>
                        </a:cxn>
                        <a:cxn ang="0">
                          <a:pos x="41" y="22"/>
                        </a:cxn>
                        <a:cxn ang="0">
                          <a:pos x="0" y="44"/>
                        </a:cxn>
                        <a:cxn ang="0">
                          <a:pos x="12" y="0"/>
                        </a:cxn>
                      </a:cxnLst>
                      <a:rect l="0" t="0" r="r" b="b"/>
                      <a:pathLst>
                        <a:path w="41" h="44">
                          <a:moveTo>
                            <a:pt x="12" y="0"/>
                          </a:moveTo>
                          <a:cubicBezTo>
                            <a:pt x="25" y="2"/>
                            <a:pt x="36" y="10"/>
                            <a:pt x="41" y="22"/>
                          </a:cubicBezTo>
                          <a:cubicBezTo>
                            <a:pt x="0" y="44"/>
                            <a:pt x="0" y="44"/>
                            <a:pt x="0" y="44"/>
                          </a:cubicBezTo>
                          <a:lnTo>
                            <a:pt x="12"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grpSp>
              <p:sp>
                <p:nvSpPr>
                  <p:cNvPr id="37" name="Freeform 301"/>
                  <p:cNvSpPr>
                    <a:spLocks/>
                  </p:cNvSpPr>
                  <p:nvPr/>
                </p:nvSpPr>
                <p:spPr bwMode="auto">
                  <a:xfrm>
                    <a:off x="5589173" y="2593958"/>
                    <a:ext cx="1363404" cy="1949650"/>
                  </a:xfrm>
                  <a:custGeom>
                    <a:avLst/>
                    <a:gdLst>
                      <a:gd name="connsiteX0" fmla="*/ 10000 w 10000"/>
                      <a:gd name="connsiteY0" fmla="*/ 10000 h 10000"/>
                      <a:gd name="connsiteX1" fmla="*/ 9880 w 10000"/>
                      <a:gd name="connsiteY1" fmla="*/ 8549 h 10000"/>
                      <a:gd name="connsiteX2" fmla="*/ 10000 w 10000"/>
                      <a:gd name="connsiteY2" fmla="*/ 2356 h 10000"/>
                      <a:gd name="connsiteX3" fmla="*/ 0 w 10000"/>
                      <a:gd name="connsiteY3" fmla="*/ 2356 h 10000"/>
                      <a:gd name="connsiteX4" fmla="*/ 0 w 10000"/>
                      <a:gd name="connsiteY4" fmla="*/ 0 h 10000"/>
                      <a:gd name="connsiteX0" fmla="*/ 10395 w 10395"/>
                      <a:gd name="connsiteY0" fmla="*/ 18448 h 18448"/>
                      <a:gd name="connsiteX1" fmla="*/ 9880 w 10395"/>
                      <a:gd name="connsiteY1" fmla="*/ 8549 h 18448"/>
                      <a:gd name="connsiteX2" fmla="*/ 10000 w 10395"/>
                      <a:gd name="connsiteY2" fmla="*/ 2356 h 18448"/>
                      <a:gd name="connsiteX3" fmla="*/ 0 w 10395"/>
                      <a:gd name="connsiteY3" fmla="*/ 2356 h 18448"/>
                      <a:gd name="connsiteX4" fmla="*/ 0 w 10395"/>
                      <a:gd name="connsiteY4" fmla="*/ 0 h 18448"/>
                      <a:gd name="connsiteX0" fmla="*/ 10395 w 10395"/>
                      <a:gd name="connsiteY0" fmla="*/ 18448 h 18448"/>
                      <a:gd name="connsiteX1" fmla="*/ 10078 w 10395"/>
                      <a:gd name="connsiteY1" fmla="*/ 16652 h 18448"/>
                      <a:gd name="connsiteX2" fmla="*/ 9880 w 10395"/>
                      <a:gd name="connsiteY2" fmla="*/ 8549 h 18448"/>
                      <a:gd name="connsiteX3" fmla="*/ 10000 w 10395"/>
                      <a:gd name="connsiteY3" fmla="*/ 2356 h 18448"/>
                      <a:gd name="connsiteX4" fmla="*/ 0 w 10395"/>
                      <a:gd name="connsiteY4" fmla="*/ 2356 h 18448"/>
                      <a:gd name="connsiteX5" fmla="*/ 0 w 10395"/>
                      <a:gd name="connsiteY5" fmla="*/ 0 h 18448"/>
                      <a:gd name="connsiteX0" fmla="*/ 0 w 28499"/>
                      <a:gd name="connsiteY0" fmla="*/ 16207 h 17237"/>
                      <a:gd name="connsiteX1" fmla="*/ 28499 w 28499"/>
                      <a:gd name="connsiteY1" fmla="*/ 16652 h 17237"/>
                      <a:gd name="connsiteX2" fmla="*/ 28301 w 28499"/>
                      <a:gd name="connsiteY2" fmla="*/ 8549 h 17237"/>
                      <a:gd name="connsiteX3" fmla="*/ 28421 w 28499"/>
                      <a:gd name="connsiteY3" fmla="*/ 2356 h 17237"/>
                      <a:gd name="connsiteX4" fmla="*/ 18421 w 28499"/>
                      <a:gd name="connsiteY4" fmla="*/ 2356 h 17237"/>
                      <a:gd name="connsiteX5" fmla="*/ 18421 w 28499"/>
                      <a:gd name="connsiteY5" fmla="*/ 0 h 17237"/>
                      <a:gd name="connsiteX0" fmla="*/ 0 w 28421"/>
                      <a:gd name="connsiteY0" fmla="*/ 16207 h 16207"/>
                      <a:gd name="connsiteX1" fmla="*/ 28302 w 28421"/>
                      <a:gd name="connsiteY1" fmla="*/ 14755 h 16207"/>
                      <a:gd name="connsiteX2" fmla="*/ 28301 w 28421"/>
                      <a:gd name="connsiteY2" fmla="*/ 8549 h 16207"/>
                      <a:gd name="connsiteX3" fmla="*/ 28421 w 28421"/>
                      <a:gd name="connsiteY3" fmla="*/ 2356 h 16207"/>
                      <a:gd name="connsiteX4" fmla="*/ 18421 w 28421"/>
                      <a:gd name="connsiteY4" fmla="*/ 2356 h 16207"/>
                      <a:gd name="connsiteX5" fmla="*/ 18421 w 28421"/>
                      <a:gd name="connsiteY5" fmla="*/ 0 h 16207"/>
                      <a:gd name="connsiteX0" fmla="*/ 0 w 28421"/>
                      <a:gd name="connsiteY0" fmla="*/ 16207 h 16207"/>
                      <a:gd name="connsiteX1" fmla="*/ 28302 w 28421"/>
                      <a:gd name="connsiteY1" fmla="*/ 14755 h 16207"/>
                      <a:gd name="connsiteX2" fmla="*/ 28301 w 28421"/>
                      <a:gd name="connsiteY2" fmla="*/ 8549 h 16207"/>
                      <a:gd name="connsiteX3" fmla="*/ 28421 w 28421"/>
                      <a:gd name="connsiteY3" fmla="*/ 2356 h 16207"/>
                      <a:gd name="connsiteX4" fmla="*/ 18421 w 28421"/>
                      <a:gd name="connsiteY4" fmla="*/ 2356 h 16207"/>
                      <a:gd name="connsiteX5" fmla="*/ 18421 w 28421"/>
                      <a:gd name="connsiteY5" fmla="*/ 0 h 16207"/>
                      <a:gd name="connsiteX0" fmla="*/ 1 w 26448"/>
                      <a:gd name="connsiteY0" fmla="*/ 15173 h 15173"/>
                      <a:gd name="connsiteX1" fmla="*/ 26329 w 26448"/>
                      <a:gd name="connsiteY1" fmla="*/ 14755 h 15173"/>
                      <a:gd name="connsiteX2" fmla="*/ 26328 w 26448"/>
                      <a:gd name="connsiteY2" fmla="*/ 8549 h 15173"/>
                      <a:gd name="connsiteX3" fmla="*/ 26448 w 26448"/>
                      <a:gd name="connsiteY3" fmla="*/ 2356 h 15173"/>
                      <a:gd name="connsiteX4" fmla="*/ 16448 w 26448"/>
                      <a:gd name="connsiteY4" fmla="*/ 2356 h 15173"/>
                      <a:gd name="connsiteX5" fmla="*/ 16448 w 26448"/>
                      <a:gd name="connsiteY5" fmla="*/ 0 h 15173"/>
                      <a:gd name="connsiteX0" fmla="*/ 0 w 26447"/>
                      <a:gd name="connsiteY0" fmla="*/ 15173 h 15173"/>
                      <a:gd name="connsiteX1" fmla="*/ 26328 w 26447"/>
                      <a:gd name="connsiteY1" fmla="*/ 14755 h 15173"/>
                      <a:gd name="connsiteX2" fmla="*/ 26327 w 26447"/>
                      <a:gd name="connsiteY2" fmla="*/ 8549 h 15173"/>
                      <a:gd name="connsiteX3" fmla="*/ 26447 w 26447"/>
                      <a:gd name="connsiteY3" fmla="*/ 2356 h 15173"/>
                      <a:gd name="connsiteX4" fmla="*/ 16447 w 26447"/>
                      <a:gd name="connsiteY4" fmla="*/ 2356 h 15173"/>
                      <a:gd name="connsiteX5" fmla="*/ 16447 w 26447"/>
                      <a:gd name="connsiteY5" fmla="*/ 0 h 15173"/>
                      <a:gd name="connsiteX0" fmla="*/ 0 w 26447"/>
                      <a:gd name="connsiteY0" fmla="*/ 15001 h 15001"/>
                      <a:gd name="connsiteX1" fmla="*/ 26328 w 26447"/>
                      <a:gd name="connsiteY1" fmla="*/ 14755 h 15001"/>
                      <a:gd name="connsiteX2" fmla="*/ 26327 w 26447"/>
                      <a:gd name="connsiteY2" fmla="*/ 8549 h 15001"/>
                      <a:gd name="connsiteX3" fmla="*/ 26447 w 26447"/>
                      <a:gd name="connsiteY3" fmla="*/ 2356 h 15001"/>
                      <a:gd name="connsiteX4" fmla="*/ 16447 w 26447"/>
                      <a:gd name="connsiteY4" fmla="*/ 2356 h 15001"/>
                      <a:gd name="connsiteX5" fmla="*/ 16447 w 26447"/>
                      <a:gd name="connsiteY5" fmla="*/ 0 h 15001"/>
                      <a:gd name="connsiteX0" fmla="*/ 0 w 26447"/>
                      <a:gd name="connsiteY0" fmla="*/ 15001 h 15001"/>
                      <a:gd name="connsiteX1" fmla="*/ 26368 w 26447"/>
                      <a:gd name="connsiteY1" fmla="*/ 14999 h 15001"/>
                      <a:gd name="connsiteX2" fmla="*/ 26327 w 26447"/>
                      <a:gd name="connsiteY2" fmla="*/ 8549 h 15001"/>
                      <a:gd name="connsiteX3" fmla="*/ 26447 w 26447"/>
                      <a:gd name="connsiteY3" fmla="*/ 2356 h 15001"/>
                      <a:gd name="connsiteX4" fmla="*/ 16447 w 26447"/>
                      <a:gd name="connsiteY4" fmla="*/ 2356 h 15001"/>
                      <a:gd name="connsiteX5" fmla="*/ 16447 w 26447"/>
                      <a:gd name="connsiteY5" fmla="*/ 0 h 15001"/>
                      <a:gd name="connsiteX0" fmla="*/ 0 w 26447"/>
                      <a:gd name="connsiteY0" fmla="*/ 14966 h 14999"/>
                      <a:gd name="connsiteX1" fmla="*/ 26368 w 26447"/>
                      <a:gd name="connsiteY1" fmla="*/ 14999 h 14999"/>
                      <a:gd name="connsiteX2" fmla="*/ 26327 w 26447"/>
                      <a:gd name="connsiteY2" fmla="*/ 8549 h 14999"/>
                      <a:gd name="connsiteX3" fmla="*/ 26447 w 26447"/>
                      <a:gd name="connsiteY3" fmla="*/ 2356 h 14999"/>
                      <a:gd name="connsiteX4" fmla="*/ 16447 w 26447"/>
                      <a:gd name="connsiteY4" fmla="*/ 2356 h 14999"/>
                      <a:gd name="connsiteX5" fmla="*/ 16447 w 26447"/>
                      <a:gd name="connsiteY5" fmla="*/ 0 h 14999"/>
                      <a:gd name="connsiteX0" fmla="*/ 0 w 26447"/>
                      <a:gd name="connsiteY0" fmla="*/ 14966 h 14999"/>
                      <a:gd name="connsiteX1" fmla="*/ 26368 w 26447"/>
                      <a:gd name="connsiteY1" fmla="*/ 14999 h 14999"/>
                      <a:gd name="connsiteX2" fmla="*/ 26327 w 26447"/>
                      <a:gd name="connsiteY2" fmla="*/ 8549 h 14999"/>
                      <a:gd name="connsiteX3" fmla="*/ 26447 w 26447"/>
                      <a:gd name="connsiteY3" fmla="*/ 2356 h 14999"/>
                      <a:gd name="connsiteX4" fmla="*/ 16447 w 26447"/>
                      <a:gd name="connsiteY4" fmla="*/ 2356 h 14999"/>
                      <a:gd name="connsiteX5" fmla="*/ 16447 w 26447"/>
                      <a:gd name="connsiteY5" fmla="*/ 0 h 14999"/>
                      <a:gd name="connsiteX0" fmla="*/ 0 w 26447"/>
                      <a:gd name="connsiteY0" fmla="*/ 14966 h 14999"/>
                      <a:gd name="connsiteX1" fmla="*/ 26368 w 26447"/>
                      <a:gd name="connsiteY1" fmla="*/ 14999 h 14999"/>
                      <a:gd name="connsiteX2" fmla="*/ 26327 w 26447"/>
                      <a:gd name="connsiteY2" fmla="*/ 8549 h 14999"/>
                      <a:gd name="connsiteX3" fmla="*/ 26447 w 26447"/>
                      <a:gd name="connsiteY3" fmla="*/ 2356 h 14999"/>
                      <a:gd name="connsiteX4" fmla="*/ 16447 w 26447"/>
                      <a:gd name="connsiteY4" fmla="*/ 2356 h 14999"/>
                      <a:gd name="connsiteX5" fmla="*/ 16447 w 26447"/>
                      <a:gd name="connsiteY5" fmla="*/ 0 h 14999"/>
                      <a:gd name="connsiteX0" fmla="*/ 0 w 24014"/>
                      <a:gd name="connsiteY0" fmla="*/ 14966 h 14999"/>
                      <a:gd name="connsiteX1" fmla="*/ 23935 w 24014"/>
                      <a:gd name="connsiteY1" fmla="*/ 14999 h 14999"/>
                      <a:gd name="connsiteX2" fmla="*/ 23894 w 24014"/>
                      <a:gd name="connsiteY2" fmla="*/ 8549 h 14999"/>
                      <a:gd name="connsiteX3" fmla="*/ 24014 w 24014"/>
                      <a:gd name="connsiteY3" fmla="*/ 2356 h 14999"/>
                      <a:gd name="connsiteX4" fmla="*/ 14014 w 24014"/>
                      <a:gd name="connsiteY4" fmla="*/ 2356 h 14999"/>
                      <a:gd name="connsiteX5" fmla="*/ 14014 w 24014"/>
                      <a:gd name="connsiteY5" fmla="*/ 0 h 1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14" h="14999">
                        <a:moveTo>
                          <a:pt x="0" y="14966"/>
                        </a:moveTo>
                        <a:lnTo>
                          <a:pt x="23935" y="14999"/>
                        </a:lnTo>
                        <a:cubicBezTo>
                          <a:pt x="23849" y="13349"/>
                          <a:pt x="23907" y="10932"/>
                          <a:pt x="23894" y="8549"/>
                        </a:cubicBezTo>
                        <a:lnTo>
                          <a:pt x="24014" y="2356"/>
                        </a:lnTo>
                        <a:lnTo>
                          <a:pt x="14014" y="2356"/>
                        </a:lnTo>
                        <a:lnTo>
                          <a:pt x="14014"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8" name="Freeform 305"/>
                  <p:cNvSpPr>
                    <a:spLocks/>
                  </p:cNvSpPr>
                  <p:nvPr/>
                </p:nvSpPr>
                <p:spPr bwMode="auto">
                  <a:xfrm>
                    <a:off x="5585494" y="2720957"/>
                    <a:ext cx="634988" cy="616391"/>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39" name="Line 306"/>
                  <p:cNvSpPr>
                    <a:spLocks noChangeShapeType="1"/>
                  </p:cNvSpPr>
                  <p:nvPr/>
                </p:nvSpPr>
                <p:spPr bwMode="auto">
                  <a:xfrm>
                    <a:off x="5585494" y="3491682"/>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40" name="Line 307"/>
                  <p:cNvSpPr>
                    <a:spLocks noChangeShapeType="1"/>
                  </p:cNvSpPr>
                  <p:nvPr/>
                </p:nvSpPr>
                <p:spPr bwMode="auto">
                  <a:xfrm>
                    <a:off x="5585494" y="3648559"/>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41" name="Line 308"/>
                  <p:cNvSpPr>
                    <a:spLocks noChangeShapeType="1"/>
                  </p:cNvSpPr>
                  <p:nvPr/>
                </p:nvSpPr>
                <p:spPr bwMode="auto">
                  <a:xfrm>
                    <a:off x="5585494" y="3805440"/>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42" name="Line 309"/>
                  <p:cNvSpPr>
                    <a:spLocks noChangeShapeType="1"/>
                  </p:cNvSpPr>
                  <p:nvPr/>
                </p:nvSpPr>
                <p:spPr bwMode="auto">
                  <a:xfrm>
                    <a:off x="5585494" y="4117929"/>
                    <a:ext cx="545344"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58" name="Line 308"/>
                  <p:cNvSpPr>
                    <a:spLocks noChangeShapeType="1"/>
                  </p:cNvSpPr>
                  <p:nvPr/>
                </p:nvSpPr>
                <p:spPr bwMode="auto">
                  <a:xfrm>
                    <a:off x="5574290" y="3951112"/>
                    <a:ext cx="1255031" cy="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grpSp>
        </p:grpSp>
      </p:grpSp>
      <p:grpSp>
        <p:nvGrpSpPr>
          <p:cNvPr id="66" name="Groupe 36"/>
          <p:cNvGrpSpPr/>
          <p:nvPr/>
        </p:nvGrpSpPr>
        <p:grpSpPr>
          <a:xfrm>
            <a:off x="9841741" y="3286096"/>
            <a:ext cx="1044000" cy="1044000"/>
            <a:chOff x="5682730" y="4473743"/>
            <a:chExt cx="1044000" cy="1044000"/>
          </a:xfrm>
        </p:grpSpPr>
        <p:sp>
          <p:nvSpPr>
            <p:cNvPr id="67" name="Ellipse 37"/>
            <p:cNvSpPr/>
            <p:nvPr/>
          </p:nvSpPr>
          <p:spPr bwMode="auto">
            <a:xfrm>
              <a:off x="5682730" y="4473743"/>
              <a:ext cx="1044000" cy="1044000"/>
            </a:xfrm>
            <a:prstGeom prst="ellipse">
              <a:avLst/>
            </a:prstGeom>
            <a:solidFill>
              <a:schemeClr val="bg1">
                <a:alpha val="7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68" name="Groupe 38"/>
            <p:cNvGrpSpPr/>
            <p:nvPr/>
          </p:nvGrpSpPr>
          <p:grpSpPr>
            <a:xfrm>
              <a:off x="5850730" y="4505586"/>
              <a:ext cx="708000" cy="980315"/>
              <a:chOff x="3040326" y="3508252"/>
              <a:chExt cx="708000" cy="980315"/>
            </a:xfrm>
          </p:grpSpPr>
          <p:sp>
            <p:nvSpPr>
              <p:cNvPr id="69" name="Forme libre : forme 39"/>
              <p:cNvSpPr>
                <a:spLocks noChangeAspect="1"/>
              </p:cNvSpPr>
              <p:nvPr/>
            </p:nvSpPr>
            <p:spPr bwMode="auto">
              <a:xfrm>
                <a:off x="3040326" y="3508252"/>
                <a:ext cx="708000" cy="980315"/>
              </a:xfrm>
              <a:custGeom>
                <a:avLst/>
                <a:gdLst>
                  <a:gd name="connsiteX0" fmla="*/ 314864 w 708000"/>
                  <a:gd name="connsiteY0" fmla="*/ 873288 h 980315"/>
                  <a:gd name="connsiteX1" fmla="*/ 286174 w 708000"/>
                  <a:gd name="connsiteY1" fmla="*/ 881449 h 980315"/>
                  <a:gd name="connsiteX2" fmla="*/ 270846 w 708000"/>
                  <a:gd name="connsiteY2" fmla="*/ 916989 h 980315"/>
                  <a:gd name="connsiteX3" fmla="*/ 278579 w 708000"/>
                  <a:gd name="connsiteY3" fmla="*/ 950584 h 980315"/>
                  <a:gd name="connsiteX4" fmla="*/ 305148 w 708000"/>
                  <a:gd name="connsiteY4" fmla="*/ 965302 h 980315"/>
                  <a:gd name="connsiteX5" fmla="*/ 334404 w 708000"/>
                  <a:gd name="connsiteY5" fmla="*/ 956218 h 980315"/>
                  <a:gd name="connsiteX6" fmla="*/ 348904 w 708000"/>
                  <a:gd name="connsiteY6" fmla="*/ 923381 h 980315"/>
                  <a:gd name="connsiteX7" fmla="*/ 346704 w 708000"/>
                  <a:gd name="connsiteY7" fmla="*/ 898605 h 980315"/>
                  <a:gd name="connsiteX8" fmla="*/ 334602 w 708000"/>
                  <a:gd name="connsiteY8" fmla="*/ 881096 h 980315"/>
                  <a:gd name="connsiteX9" fmla="*/ 314864 w 708000"/>
                  <a:gd name="connsiteY9" fmla="*/ 873288 h 980315"/>
                  <a:gd name="connsiteX10" fmla="*/ 419400 w 708000"/>
                  <a:gd name="connsiteY10" fmla="*/ 871053 h 980315"/>
                  <a:gd name="connsiteX11" fmla="*/ 383688 w 708000"/>
                  <a:gd name="connsiteY11" fmla="*/ 877327 h 980315"/>
                  <a:gd name="connsiteX12" fmla="*/ 390246 w 708000"/>
                  <a:gd name="connsiteY12" fmla="*/ 914656 h 980315"/>
                  <a:gd name="connsiteX13" fmla="*/ 422341 w 708000"/>
                  <a:gd name="connsiteY13" fmla="*/ 909017 h 980315"/>
                  <a:gd name="connsiteX14" fmla="*/ 437978 w 708000"/>
                  <a:gd name="connsiteY14" fmla="*/ 904088 h 980315"/>
                  <a:gd name="connsiteX15" fmla="*/ 445563 w 708000"/>
                  <a:gd name="connsiteY15" fmla="*/ 895774 h 980315"/>
                  <a:gd name="connsiteX16" fmla="*/ 446786 w 708000"/>
                  <a:gd name="connsiteY16" fmla="*/ 885125 h 980315"/>
                  <a:gd name="connsiteX17" fmla="*/ 438663 w 708000"/>
                  <a:gd name="connsiteY17" fmla="*/ 872985 h 980315"/>
                  <a:gd name="connsiteX18" fmla="*/ 419400 w 708000"/>
                  <a:gd name="connsiteY18" fmla="*/ 871053 h 980315"/>
                  <a:gd name="connsiteX19" fmla="*/ 316123 w 708000"/>
                  <a:gd name="connsiteY19" fmla="*/ 860299 h 980315"/>
                  <a:gd name="connsiteX20" fmla="*/ 343797 w 708000"/>
                  <a:gd name="connsiteY20" fmla="*/ 870770 h 980315"/>
                  <a:gd name="connsiteX21" fmla="*/ 360948 w 708000"/>
                  <a:gd name="connsiteY21" fmla="*/ 893788 h 980315"/>
                  <a:gd name="connsiteX22" fmla="*/ 364442 w 708000"/>
                  <a:gd name="connsiteY22" fmla="*/ 925061 h 980315"/>
                  <a:gd name="connsiteX23" fmla="*/ 354251 w 708000"/>
                  <a:gd name="connsiteY23" fmla="*/ 955356 h 980315"/>
                  <a:gd name="connsiteX24" fmla="*/ 332294 w 708000"/>
                  <a:gd name="connsiteY24" fmla="*/ 974030 h 980315"/>
                  <a:gd name="connsiteX25" fmla="*/ 303896 w 708000"/>
                  <a:gd name="connsiteY25" fmla="*/ 978213 h 980315"/>
                  <a:gd name="connsiteX26" fmla="*/ 275935 w 708000"/>
                  <a:gd name="connsiteY26" fmla="*/ 967477 h 980315"/>
                  <a:gd name="connsiteX27" fmla="*/ 258921 w 708000"/>
                  <a:gd name="connsiteY27" fmla="*/ 944277 h 980315"/>
                  <a:gd name="connsiteX28" fmla="*/ 255323 w 708000"/>
                  <a:gd name="connsiteY28" fmla="*/ 915154 h 980315"/>
                  <a:gd name="connsiteX29" fmla="*/ 275136 w 708000"/>
                  <a:gd name="connsiteY29" fmla="*/ 872298 h 980315"/>
                  <a:gd name="connsiteX30" fmla="*/ 316123 w 708000"/>
                  <a:gd name="connsiteY30" fmla="*/ 860299 h 980315"/>
                  <a:gd name="connsiteX31" fmla="*/ 440064 w 708000"/>
                  <a:gd name="connsiteY31" fmla="*/ 857703 h 980315"/>
                  <a:gd name="connsiteX32" fmla="*/ 454496 w 708000"/>
                  <a:gd name="connsiteY32" fmla="*/ 866236 h 980315"/>
                  <a:gd name="connsiteX33" fmla="*/ 462180 w 708000"/>
                  <a:gd name="connsiteY33" fmla="*/ 882421 h 980315"/>
                  <a:gd name="connsiteX34" fmla="*/ 457962 w 708000"/>
                  <a:gd name="connsiteY34" fmla="*/ 904029 h 980315"/>
                  <a:gd name="connsiteX35" fmla="*/ 435787 w 708000"/>
                  <a:gd name="connsiteY35" fmla="*/ 918715 h 980315"/>
                  <a:gd name="connsiteX36" fmla="*/ 445780 w 708000"/>
                  <a:gd name="connsiteY36" fmla="*/ 922752 h 980315"/>
                  <a:gd name="connsiteX37" fmla="*/ 460808 w 708000"/>
                  <a:gd name="connsiteY37" fmla="*/ 935583 h 980315"/>
                  <a:gd name="connsiteX38" fmla="*/ 485830 w 708000"/>
                  <a:gd name="connsiteY38" fmla="*/ 962845 h 980315"/>
                  <a:gd name="connsiteX39" fmla="*/ 467050 w 708000"/>
                  <a:gd name="connsiteY39" fmla="*/ 966144 h 980315"/>
                  <a:gd name="connsiteX40" fmla="*/ 447994 w 708000"/>
                  <a:gd name="connsiteY40" fmla="*/ 945293 h 980315"/>
                  <a:gd name="connsiteX41" fmla="*/ 434487 w 708000"/>
                  <a:gd name="connsiteY41" fmla="*/ 931638 h 980315"/>
                  <a:gd name="connsiteX42" fmla="*/ 425581 w 708000"/>
                  <a:gd name="connsiteY42" fmla="*/ 925427 h 980315"/>
                  <a:gd name="connsiteX43" fmla="*/ 418242 w 708000"/>
                  <a:gd name="connsiteY43" fmla="*/ 923622 h 980315"/>
                  <a:gd name="connsiteX44" fmla="*/ 409835 w 708000"/>
                  <a:gd name="connsiteY44" fmla="*/ 924544 h 980315"/>
                  <a:gd name="connsiteX45" fmla="*/ 392517 w 708000"/>
                  <a:gd name="connsiteY45" fmla="*/ 927586 h 980315"/>
                  <a:gd name="connsiteX46" fmla="*/ 401320 w 708000"/>
                  <a:gd name="connsiteY46" fmla="*/ 977692 h 980315"/>
                  <a:gd name="connsiteX47" fmla="*/ 386388 w 708000"/>
                  <a:gd name="connsiteY47" fmla="*/ 980315 h 980315"/>
                  <a:gd name="connsiteX48" fmla="*/ 366566 w 708000"/>
                  <a:gd name="connsiteY48" fmla="*/ 867481 h 980315"/>
                  <a:gd name="connsiteX49" fmla="*/ 416594 w 708000"/>
                  <a:gd name="connsiteY49" fmla="*/ 858692 h 980315"/>
                  <a:gd name="connsiteX50" fmla="*/ 440064 w 708000"/>
                  <a:gd name="connsiteY50" fmla="*/ 857703 h 980315"/>
                  <a:gd name="connsiteX51" fmla="*/ 167960 w 708000"/>
                  <a:gd name="connsiteY51" fmla="*/ 815733 h 980315"/>
                  <a:gd name="connsiteX52" fmla="*/ 188966 w 708000"/>
                  <a:gd name="connsiteY52" fmla="*/ 824646 h 980315"/>
                  <a:gd name="connsiteX53" fmla="*/ 182246 w 708000"/>
                  <a:gd name="connsiteY53" fmla="*/ 909909 h 980315"/>
                  <a:gd name="connsiteX54" fmla="*/ 180659 w 708000"/>
                  <a:gd name="connsiteY54" fmla="*/ 927656 h 980315"/>
                  <a:gd name="connsiteX55" fmla="*/ 193443 w 708000"/>
                  <a:gd name="connsiteY55" fmla="*/ 913132 h 980315"/>
                  <a:gd name="connsiteX56" fmla="*/ 249826 w 708000"/>
                  <a:gd name="connsiteY56" fmla="*/ 850468 h 980315"/>
                  <a:gd name="connsiteX57" fmla="*/ 268602 w 708000"/>
                  <a:gd name="connsiteY57" fmla="*/ 858434 h 980315"/>
                  <a:gd name="connsiteX58" fmla="*/ 223856 w 708000"/>
                  <a:gd name="connsiteY58" fmla="*/ 963896 h 980315"/>
                  <a:gd name="connsiteX59" fmla="*/ 210403 w 708000"/>
                  <a:gd name="connsiteY59" fmla="*/ 958188 h 980315"/>
                  <a:gd name="connsiteX60" fmla="*/ 247854 w 708000"/>
                  <a:gd name="connsiteY60" fmla="*/ 869920 h 980315"/>
                  <a:gd name="connsiteX61" fmla="*/ 179758 w 708000"/>
                  <a:gd name="connsiteY61" fmla="*/ 945186 h 980315"/>
                  <a:gd name="connsiteX62" fmla="*/ 167168 w 708000"/>
                  <a:gd name="connsiteY62" fmla="*/ 939844 h 980315"/>
                  <a:gd name="connsiteX63" fmla="*/ 174759 w 708000"/>
                  <a:gd name="connsiteY63" fmla="*/ 837124 h 980315"/>
                  <a:gd name="connsiteX64" fmla="*/ 136667 w 708000"/>
                  <a:gd name="connsiteY64" fmla="*/ 926903 h 980315"/>
                  <a:gd name="connsiteX65" fmla="*/ 123214 w 708000"/>
                  <a:gd name="connsiteY65" fmla="*/ 921195 h 980315"/>
                  <a:gd name="connsiteX66" fmla="*/ 535928 w 708000"/>
                  <a:gd name="connsiteY66" fmla="*/ 815716 h 980315"/>
                  <a:gd name="connsiteX67" fmla="*/ 541591 w 708000"/>
                  <a:gd name="connsiteY67" fmla="*/ 827993 h 980315"/>
                  <a:gd name="connsiteX68" fmla="*/ 480140 w 708000"/>
                  <a:gd name="connsiteY68" fmla="*/ 856339 h 980315"/>
                  <a:gd name="connsiteX69" fmla="*/ 494837 w 708000"/>
                  <a:gd name="connsiteY69" fmla="*/ 888200 h 980315"/>
                  <a:gd name="connsiteX70" fmla="*/ 552385 w 708000"/>
                  <a:gd name="connsiteY70" fmla="*/ 861654 h 980315"/>
                  <a:gd name="connsiteX71" fmla="*/ 558015 w 708000"/>
                  <a:gd name="connsiteY71" fmla="*/ 873859 h 980315"/>
                  <a:gd name="connsiteX72" fmla="*/ 500467 w 708000"/>
                  <a:gd name="connsiteY72" fmla="*/ 900405 h 980315"/>
                  <a:gd name="connsiteX73" fmla="*/ 516801 w 708000"/>
                  <a:gd name="connsiteY73" fmla="*/ 935814 h 980315"/>
                  <a:gd name="connsiteX74" fmla="*/ 580664 w 708000"/>
                  <a:gd name="connsiteY74" fmla="*/ 906355 h 980315"/>
                  <a:gd name="connsiteX75" fmla="*/ 586327 w 708000"/>
                  <a:gd name="connsiteY75" fmla="*/ 918631 h 980315"/>
                  <a:gd name="connsiteX76" fmla="*/ 508697 w 708000"/>
                  <a:gd name="connsiteY76" fmla="*/ 954441 h 980315"/>
                  <a:gd name="connsiteX77" fmla="*/ 460711 w 708000"/>
                  <a:gd name="connsiteY77" fmla="*/ 850413 h 980315"/>
                  <a:gd name="connsiteX78" fmla="*/ 643609 w 708000"/>
                  <a:gd name="connsiteY78" fmla="*/ 88704 h 980315"/>
                  <a:gd name="connsiteX79" fmla="*/ 708000 w 708000"/>
                  <a:gd name="connsiteY79" fmla="*/ 140814 h 980315"/>
                  <a:gd name="connsiteX80" fmla="*/ 699495 w 708000"/>
                  <a:gd name="connsiteY80" fmla="*/ 151323 h 980315"/>
                  <a:gd name="connsiteX81" fmla="*/ 646889 w 708000"/>
                  <a:gd name="connsiteY81" fmla="*/ 108750 h 980315"/>
                  <a:gd name="connsiteX82" fmla="*/ 624817 w 708000"/>
                  <a:gd name="connsiteY82" fmla="*/ 136025 h 980315"/>
                  <a:gd name="connsiteX83" fmla="*/ 674082 w 708000"/>
                  <a:gd name="connsiteY83" fmla="*/ 175894 h 980315"/>
                  <a:gd name="connsiteX84" fmla="*/ 665626 w 708000"/>
                  <a:gd name="connsiteY84" fmla="*/ 186342 h 980315"/>
                  <a:gd name="connsiteX85" fmla="*/ 616361 w 708000"/>
                  <a:gd name="connsiteY85" fmla="*/ 146473 h 980315"/>
                  <a:gd name="connsiteX86" fmla="*/ 591830 w 708000"/>
                  <a:gd name="connsiteY86" fmla="*/ 176786 h 980315"/>
                  <a:gd name="connsiteX87" fmla="*/ 646502 w 708000"/>
                  <a:gd name="connsiteY87" fmla="*/ 221029 h 980315"/>
                  <a:gd name="connsiteX88" fmla="*/ 637997 w 708000"/>
                  <a:gd name="connsiteY88" fmla="*/ 231538 h 980315"/>
                  <a:gd name="connsiteX89" fmla="*/ 571541 w 708000"/>
                  <a:gd name="connsiteY89" fmla="*/ 177758 h 980315"/>
                  <a:gd name="connsiteX90" fmla="*/ 87032 w 708000"/>
                  <a:gd name="connsiteY90" fmla="*/ 72364 h 980315"/>
                  <a:gd name="connsiteX91" fmla="*/ 156364 w 708000"/>
                  <a:gd name="connsiteY91" fmla="*/ 163564 h 980315"/>
                  <a:gd name="connsiteX92" fmla="*/ 144730 w 708000"/>
                  <a:gd name="connsiteY92" fmla="*/ 172408 h 980315"/>
                  <a:gd name="connsiteX93" fmla="*/ 86701 w 708000"/>
                  <a:gd name="connsiteY93" fmla="*/ 96076 h 980315"/>
                  <a:gd name="connsiteX94" fmla="*/ 118229 w 708000"/>
                  <a:gd name="connsiteY94" fmla="*/ 192555 h 980315"/>
                  <a:gd name="connsiteX95" fmla="*/ 107342 w 708000"/>
                  <a:gd name="connsiteY95" fmla="*/ 200831 h 980315"/>
                  <a:gd name="connsiteX96" fmla="*/ 21943 w 708000"/>
                  <a:gd name="connsiteY96" fmla="*/ 143246 h 980315"/>
                  <a:gd name="connsiteX97" fmla="*/ 80965 w 708000"/>
                  <a:gd name="connsiteY97" fmla="*/ 220884 h 980315"/>
                  <a:gd name="connsiteX98" fmla="*/ 69332 w 708000"/>
                  <a:gd name="connsiteY98" fmla="*/ 229728 h 980315"/>
                  <a:gd name="connsiteX99" fmla="*/ 0 w 708000"/>
                  <a:gd name="connsiteY99" fmla="*/ 138528 h 980315"/>
                  <a:gd name="connsiteX100" fmla="*/ 18165 w 708000"/>
                  <a:gd name="connsiteY100" fmla="*/ 124718 h 980315"/>
                  <a:gd name="connsiteX101" fmla="*/ 88842 w 708000"/>
                  <a:gd name="connsiteY101" fmla="*/ 172881 h 980315"/>
                  <a:gd name="connsiteX102" fmla="*/ 103460 w 708000"/>
                  <a:gd name="connsiteY102" fmla="*/ 183070 h 980315"/>
                  <a:gd name="connsiteX103" fmla="*/ 97198 w 708000"/>
                  <a:gd name="connsiteY103" fmla="*/ 164762 h 980315"/>
                  <a:gd name="connsiteX104" fmla="*/ 70795 w 708000"/>
                  <a:gd name="connsiteY104" fmla="*/ 84708 h 980315"/>
                  <a:gd name="connsiteX105" fmla="*/ 167902 w 708000"/>
                  <a:gd name="connsiteY105" fmla="*/ 49012 h 980315"/>
                  <a:gd name="connsiteX106" fmla="*/ 170064 w 708000"/>
                  <a:gd name="connsiteY106" fmla="*/ 71645 h 980315"/>
                  <a:gd name="connsiteX107" fmla="*/ 170493 w 708000"/>
                  <a:gd name="connsiteY107" fmla="*/ 107523 h 980315"/>
                  <a:gd name="connsiteX108" fmla="*/ 206700 w 708000"/>
                  <a:gd name="connsiteY108" fmla="*/ 93471 h 980315"/>
                  <a:gd name="connsiteX109" fmla="*/ 184074 w 708000"/>
                  <a:gd name="connsiteY109" fmla="*/ 68219 h 980315"/>
                  <a:gd name="connsiteX110" fmla="*/ 167902 w 708000"/>
                  <a:gd name="connsiteY110" fmla="*/ 49012 h 980315"/>
                  <a:gd name="connsiteX111" fmla="*/ 532118 w 708000"/>
                  <a:gd name="connsiteY111" fmla="*/ 37907 h 980315"/>
                  <a:gd name="connsiteX112" fmla="*/ 562649 w 708000"/>
                  <a:gd name="connsiteY112" fmla="*/ 43557 h 980315"/>
                  <a:gd name="connsiteX113" fmla="*/ 581632 w 708000"/>
                  <a:gd name="connsiteY113" fmla="*/ 56231 h 980315"/>
                  <a:gd name="connsiteX114" fmla="*/ 591579 w 708000"/>
                  <a:gd name="connsiteY114" fmla="*/ 72806 h 980315"/>
                  <a:gd name="connsiteX115" fmla="*/ 592028 w 708000"/>
                  <a:gd name="connsiteY115" fmla="*/ 93465 h 980315"/>
                  <a:gd name="connsiteX116" fmla="*/ 577994 w 708000"/>
                  <a:gd name="connsiteY116" fmla="*/ 91434 h 980315"/>
                  <a:gd name="connsiteX117" fmla="*/ 577621 w 708000"/>
                  <a:gd name="connsiteY117" fmla="*/ 76265 h 980315"/>
                  <a:gd name="connsiteX118" fmla="*/ 570798 w 708000"/>
                  <a:gd name="connsiteY118" fmla="*/ 64548 h 980315"/>
                  <a:gd name="connsiteX119" fmla="*/ 557533 w 708000"/>
                  <a:gd name="connsiteY119" fmla="*/ 55477 h 980315"/>
                  <a:gd name="connsiteX120" fmla="*/ 539794 w 708000"/>
                  <a:gd name="connsiteY120" fmla="*/ 51190 h 980315"/>
                  <a:gd name="connsiteX121" fmla="*/ 525256 w 708000"/>
                  <a:gd name="connsiteY121" fmla="*/ 53926 h 980315"/>
                  <a:gd name="connsiteX122" fmla="*/ 514099 w 708000"/>
                  <a:gd name="connsiteY122" fmla="*/ 61421 h 980315"/>
                  <a:gd name="connsiteX123" fmla="*/ 500868 w 708000"/>
                  <a:gd name="connsiteY123" fmla="*/ 80799 h 980315"/>
                  <a:gd name="connsiteX124" fmla="*/ 495451 w 708000"/>
                  <a:gd name="connsiteY124" fmla="*/ 106401 h 980315"/>
                  <a:gd name="connsiteX125" fmla="*/ 503400 w 708000"/>
                  <a:gd name="connsiteY125" fmla="*/ 126581 h 980315"/>
                  <a:gd name="connsiteX126" fmla="*/ 521024 w 708000"/>
                  <a:gd name="connsiteY126" fmla="*/ 139729 h 980315"/>
                  <a:gd name="connsiteX127" fmla="*/ 540159 w 708000"/>
                  <a:gd name="connsiteY127" fmla="*/ 143943 h 980315"/>
                  <a:gd name="connsiteX128" fmla="*/ 556430 w 708000"/>
                  <a:gd name="connsiteY128" fmla="*/ 142219 h 980315"/>
                  <a:gd name="connsiteX129" fmla="*/ 564962 w 708000"/>
                  <a:gd name="connsiteY129" fmla="*/ 122665 h 980315"/>
                  <a:gd name="connsiteX130" fmla="*/ 534092 w 708000"/>
                  <a:gd name="connsiteY130" fmla="*/ 109195 h 980315"/>
                  <a:gd name="connsiteX131" fmla="*/ 539468 w 708000"/>
                  <a:gd name="connsiteY131" fmla="*/ 96876 h 980315"/>
                  <a:gd name="connsiteX132" fmla="*/ 583977 w 708000"/>
                  <a:gd name="connsiteY132" fmla="*/ 116213 h 980315"/>
                  <a:gd name="connsiteX133" fmla="*/ 566975 w 708000"/>
                  <a:gd name="connsiteY133" fmla="*/ 155176 h 980315"/>
                  <a:gd name="connsiteX134" fmla="*/ 540486 w 708000"/>
                  <a:gd name="connsiteY134" fmla="*/ 158239 h 980315"/>
                  <a:gd name="connsiteX135" fmla="*/ 516343 w 708000"/>
                  <a:gd name="connsiteY135" fmla="*/ 152607 h 980315"/>
                  <a:gd name="connsiteX136" fmla="*/ 491121 w 708000"/>
                  <a:gd name="connsiteY136" fmla="*/ 133714 h 980315"/>
                  <a:gd name="connsiteX137" fmla="*/ 480394 w 708000"/>
                  <a:gd name="connsiteY137" fmla="*/ 106226 h 980315"/>
                  <a:gd name="connsiteX138" fmla="*/ 486168 w 708000"/>
                  <a:gd name="connsiteY138" fmla="*/ 75408 h 980315"/>
                  <a:gd name="connsiteX139" fmla="*/ 505065 w 708000"/>
                  <a:gd name="connsiteY139" fmla="*/ 49592 h 980315"/>
                  <a:gd name="connsiteX140" fmla="*/ 532118 w 708000"/>
                  <a:gd name="connsiteY140" fmla="*/ 37907 h 980315"/>
                  <a:gd name="connsiteX141" fmla="*/ 171489 w 708000"/>
                  <a:gd name="connsiteY141" fmla="*/ 34712 h 980315"/>
                  <a:gd name="connsiteX142" fmla="*/ 256649 w 708000"/>
                  <a:gd name="connsiteY142" fmla="*/ 124547 h 980315"/>
                  <a:gd name="connsiteX143" fmla="*/ 240549 w 708000"/>
                  <a:gd name="connsiteY143" fmla="*/ 130796 h 980315"/>
                  <a:gd name="connsiteX144" fmla="*/ 215538 w 708000"/>
                  <a:gd name="connsiteY144" fmla="*/ 103285 h 980315"/>
                  <a:gd name="connsiteX145" fmla="*/ 170880 w 708000"/>
                  <a:gd name="connsiteY145" fmla="*/ 120617 h 980315"/>
                  <a:gd name="connsiteX146" fmla="*/ 171705 w 708000"/>
                  <a:gd name="connsiteY146" fmla="*/ 157515 h 980315"/>
                  <a:gd name="connsiteX147" fmla="*/ 156697 w 708000"/>
                  <a:gd name="connsiteY147" fmla="*/ 163339 h 980315"/>
                  <a:gd name="connsiteX148" fmla="*/ 156263 w 708000"/>
                  <a:gd name="connsiteY148" fmla="*/ 40621 h 980315"/>
                  <a:gd name="connsiteX149" fmla="*/ 422855 w 708000"/>
                  <a:gd name="connsiteY149" fmla="*/ 18265 h 980315"/>
                  <a:gd name="connsiteX150" fmla="*/ 413625 w 708000"/>
                  <a:gd name="connsiteY150" fmla="*/ 39042 h 980315"/>
                  <a:gd name="connsiteX151" fmla="*/ 396380 w 708000"/>
                  <a:gd name="connsiteY151" fmla="*/ 70507 h 980315"/>
                  <a:gd name="connsiteX152" fmla="*/ 434821 w 708000"/>
                  <a:gd name="connsiteY152" fmla="*/ 76046 h 980315"/>
                  <a:gd name="connsiteX153" fmla="*/ 427512 w 708000"/>
                  <a:gd name="connsiteY153" fmla="*/ 42938 h 980315"/>
                  <a:gd name="connsiteX154" fmla="*/ 422855 w 708000"/>
                  <a:gd name="connsiteY154" fmla="*/ 18265 h 980315"/>
                  <a:gd name="connsiteX155" fmla="*/ 416837 w 708000"/>
                  <a:gd name="connsiteY155" fmla="*/ 5240 h 980315"/>
                  <a:gd name="connsiteX156" fmla="*/ 433002 w 708000"/>
                  <a:gd name="connsiteY156" fmla="*/ 7569 h 980315"/>
                  <a:gd name="connsiteX157" fmla="*/ 463073 w 708000"/>
                  <a:gd name="connsiteY157" fmla="*/ 127646 h 980315"/>
                  <a:gd name="connsiteX158" fmla="*/ 445979 w 708000"/>
                  <a:gd name="connsiteY158" fmla="*/ 125183 h 980315"/>
                  <a:gd name="connsiteX159" fmla="*/ 437701 w 708000"/>
                  <a:gd name="connsiteY159" fmla="*/ 88935 h 980315"/>
                  <a:gd name="connsiteX160" fmla="*/ 390287 w 708000"/>
                  <a:gd name="connsiteY160" fmla="*/ 82104 h 980315"/>
                  <a:gd name="connsiteX161" fmla="*/ 372887 w 708000"/>
                  <a:gd name="connsiteY161" fmla="*/ 114652 h 980315"/>
                  <a:gd name="connsiteX162" fmla="*/ 356953 w 708000"/>
                  <a:gd name="connsiteY162" fmla="*/ 112356 h 980315"/>
                  <a:gd name="connsiteX163" fmla="*/ 337655 w 708000"/>
                  <a:gd name="connsiteY163" fmla="*/ 0 h 980315"/>
                  <a:gd name="connsiteX164" fmla="*/ 350563 w 708000"/>
                  <a:gd name="connsiteY164" fmla="*/ 113832 h 980315"/>
                  <a:gd name="connsiteX165" fmla="*/ 335111 w 708000"/>
                  <a:gd name="connsiteY165" fmla="*/ 115585 h 980315"/>
                  <a:gd name="connsiteX166" fmla="*/ 265179 w 708000"/>
                  <a:gd name="connsiteY166" fmla="*/ 32914 h 980315"/>
                  <a:gd name="connsiteX167" fmla="*/ 275322 w 708000"/>
                  <a:gd name="connsiteY167" fmla="*/ 122364 h 980315"/>
                  <a:gd name="connsiteX168" fmla="*/ 260880 w 708000"/>
                  <a:gd name="connsiteY168" fmla="*/ 124002 h 980315"/>
                  <a:gd name="connsiteX169" fmla="*/ 247972 w 708000"/>
                  <a:gd name="connsiteY169" fmla="*/ 10170 h 980315"/>
                  <a:gd name="connsiteX170" fmla="*/ 263424 w 708000"/>
                  <a:gd name="connsiteY170" fmla="*/ 8418 h 980315"/>
                  <a:gd name="connsiteX171" fmla="*/ 333347 w 708000"/>
                  <a:gd name="connsiteY171" fmla="*/ 91011 h 980315"/>
                  <a:gd name="connsiteX172" fmla="*/ 323213 w 708000"/>
                  <a:gd name="connsiteY172" fmla="*/ 1638 h 98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8000" h="980315">
                    <a:moveTo>
                      <a:pt x="314864" y="873288"/>
                    </a:moveTo>
                    <a:cubicBezTo>
                      <a:pt x="304188" y="872188"/>
                      <a:pt x="294625" y="874909"/>
                      <a:pt x="286174" y="881449"/>
                    </a:cubicBezTo>
                    <a:cubicBezTo>
                      <a:pt x="277722" y="887989"/>
                      <a:pt x="272613" y="899835"/>
                      <a:pt x="270846" y="916989"/>
                    </a:cubicBezTo>
                    <a:cubicBezTo>
                      <a:pt x="269431" y="930722"/>
                      <a:pt x="272009" y="941920"/>
                      <a:pt x="278579" y="950584"/>
                    </a:cubicBezTo>
                    <a:cubicBezTo>
                      <a:pt x="285150" y="959248"/>
                      <a:pt x="294006" y="964154"/>
                      <a:pt x="305148" y="965302"/>
                    </a:cubicBezTo>
                    <a:cubicBezTo>
                      <a:pt x="316497" y="966471"/>
                      <a:pt x="326249" y="963443"/>
                      <a:pt x="334404" y="956218"/>
                    </a:cubicBezTo>
                    <a:cubicBezTo>
                      <a:pt x="342559" y="948993"/>
                      <a:pt x="347393" y="938047"/>
                      <a:pt x="348904" y="923381"/>
                    </a:cubicBezTo>
                    <a:cubicBezTo>
                      <a:pt x="349859" y="914105"/>
                      <a:pt x="349126" y="905846"/>
                      <a:pt x="346704" y="898605"/>
                    </a:cubicBezTo>
                    <a:cubicBezTo>
                      <a:pt x="344281" y="891363"/>
                      <a:pt x="340247" y="885527"/>
                      <a:pt x="334602" y="881096"/>
                    </a:cubicBezTo>
                    <a:cubicBezTo>
                      <a:pt x="328958" y="876665"/>
                      <a:pt x="322378" y="874063"/>
                      <a:pt x="314864" y="873288"/>
                    </a:cubicBezTo>
                    <a:close/>
                    <a:moveTo>
                      <a:pt x="419400" y="871053"/>
                    </a:moveTo>
                    <a:lnTo>
                      <a:pt x="383688" y="877327"/>
                    </a:lnTo>
                    <a:lnTo>
                      <a:pt x="390246" y="914656"/>
                    </a:lnTo>
                    <a:lnTo>
                      <a:pt x="422341" y="909017"/>
                    </a:lnTo>
                    <a:cubicBezTo>
                      <a:pt x="429165" y="907818"/>
                      <a:pt x="434378" y="906175"/>
                      <a:pt x="437978" y="904088"/>
                    </a:cubicBezTo>
                    <a:cubicBezTo>
                      <a:pt x="441579" y="902001"/>
                      <a:pt x="444107" y="899230"/>
                      <a:pt x="445563" y="895774"/>
                    </a:cubicBezTo>
                    <a:cubicBezTo>
                      <a:pt x="447018" y="892318"/>
                      <a:pt x="447426" y="888768"/>
                      <a:pt x="446786" y="885125"/>
                    </a:cubicBezTo>
                    <a:cubicBezTo>
                      <a:pt x="445849" y="879789"/>
                      <a:pt x="443141" y="875742"/>
                      <a:pt x="438663" y="872985"/>
                    </a:cubicBezTo>
                    <a:cubicBezTo>
                      <a:pt x="434185" y="870227"/>
                      <a:pt x="427764" y="869584"/>
                      <a:pt x="419400" y="871053"/>
                    </a:cubicBezTo>
                    <a:close/>
                    <a:moveTo>
                      <a:pt x="316123" y="860299"/>
                    </a:moveTo>
                    <a:cubicBezTo>
                      <a:pt x="326643" y="861383"/>
                      <a:pt x="335868" y="864873"/>
                      <a:pt x="343797" y="870770"/>
                    </a:cubicBezTo>
                    <a:cubicBezTo>
                      <a:pt x="351726" y="876667"/>
                      <a:pt x="357443" y="884340"/>
                      <a:pt x="360948" y="893788"/>
                    </a:cubicBezTo>
                    <a:cubicBezTo>
                      <a:pt x="364452" y="903235"/>
                      <a:pt x="365617" y="913660"/>
                      <a:pt x="364442" y="925061"/>
                    </a:cubicBezTo>
                    <a:cubicBezTo>
                      <a:pt x="363252" y="936617"/>
                      <a:pt x="359854" y="946716"/>
                      <a:pt x="354251" y="955356"/>
                    </a:cubicBezTo>
                    <a:cubicBezTo>
                      <a:pt x="348647" y="963996"/>
                      <a:pt x="341328" y="970221"/>
                      <a:pt x="332294" y="974030"/>
                    </a:cubicBezTo>
                    <a:cubicBezTo>
                      <a:pt x="323260" y="977839"/>
                      <a:pt x="313794" y="979233"/>
                      <a:pt x="303896" y="978213"/>
                    </a:cubicBezTo>
                    <a:cubicBezTo>
                      <a:pt x="293169" y="977108"/>
                      <a:pt x="283848" y="973529"/>
                      <a:pt x="275935" y="967477"/>
                    </a:cubicBezTo>
                    <a:cubicBezTo>
                      <a:pt x="268022" y="961424"/>
                      <a:pt x="262351" y="953691"/>
                      <a:pt x="258921" y="944277"/>
                    </a:cubicBezTo>
                    <a:cubicBezTo>
                      <a:pt x="255492" y="934863"/>
                      <a:pt x="254292" y="925155"/>
                      <a:pt x="255323" y="915154"/>
                    </a:cubicBezTo>
                    <a:cubicBezTo>
                      <a:pt x="257272" y="896238"/>
                      <a:pt x="263876" y="881953"/>
                      <a:pt x="275136" y="872298"/>
                    </a:cubicBezTo>
                    <a:cubicBezTo>
                      <a:pt x="286396" y="862643"/>
                      <a:pt x="300058" y="858644"/>
                      <a:pt x="316123" y="860299"/>
                    </a:cubicBezTo>
                    <a:close/>
                    <a:moveTo>
                      <a:pt x="440064" y="857703"/>
                    </a:moveTo>
                    <a:cubicBezTo>
                      <a:pt x="445654" y="858811"/>
                      <a:pt x="450465" y="861655"/>
                      <a:pt x="454496" y="866236"/>
                    </a:cubicBezTo>
                    <a:cubicBezTo>
                      <a:pt x="458528" y="870817"/>
                      <a:pt x="461089" y="876212"/>
                      <a:pt x="462180" y="882421"/>
                    </a:cubicBezTo>
                    <a:cubicBezTo>
                      <a:pt x="463586" y="890425"/>
                      <a:pt x="462180" y="897628"/>
                      <a:pt x="457962" y="904029"/>
                    </a:cubicBezTo>
                    <a:cubicBezTo>
                      <a:pt x="453744" y="910430"/>
                      <a:pt x="446353" y="915325"/>
                      <a:pt x="435787" y="918715"/>
                    </a:cubicBezTo>
                    <a:cubicBezTo>
                      <a:pt x="440072" y="919920"/>
                      <a:pt x="443403" y="921265"/>
                      <a:pt x="445780" y="922752"/>
                    </a:cubicBezTo>
                    <a:cubicBezTo>
                      <a:pt x="450844" y="925988"/>
                      <a:pt x="455854" y="930265"/>
                      <a:pt x="460808" y="935583"/>
                    </a:cubicBezTo>
                    <a:lnTo>
                      <a:pt x="485830" y="962845"/>
                    </a:lnTo>
                    <a:lnTo>
                      <a:pt x="467050" y="966144"/>
                    </a:lnTo>
                    <a:lnTo>
                      <a:pt x="447994" y="945293"/>
                    </a:lnTo>
                    <a:cubicBezTo>
                      <a:pt x="442443" y="939286"/>
                      <a:pt x="437940" y="934734"/>
                      <a:pt x="434487" y="931638"/>
                    </a:cubicBezTo>
                    <a:cubicBezTo>
                      <a:pt x="431034" y="928542"/>
                      <a:pt x="428065" y="926472"/>
                      <a:pt x="425581" y="925427"/>
                    </a:cubicBezTo>
                    <a:cubicBezTo>
                      <a:pt x="423097" y="924383"/>
                      <a:pt x="420650" y="923781"/>
                      <a:pt x="418242" y="923622"/>
                    </a:cubicBezTo>
                    <a:cubicBezTo>
                      <a:pt x="416486" y="923561"/>
                      <a:pt x="413683" y="923868"/>
                      <a:pt x="409835" y="924544"/>
                    </a:cubicBezTo>
                    <a:lnTo>
                      <a:pt x="392517" y="927586"/>
                    </a:lnTo>
                    <a:lnTo>
                      <a:pt x="401320" y="977692"/>
                    </a:lnTo>
                    <a:lnTo>
                      <a:pt x="386388" y="980315"/>
                    </a:lnTo>
                    <a:lnTo>
                      <a:pt x="366566" y="867481"/>
                    </a:lnTo>
                    <a:lnTo>
                      <a:pt x="416594" y="858692"/>
                    </a:lnTo>
                    <a:cubicBezTo>
                      <a:pt x="426651" y="856926"/>
                      <a:pt x="434475" y="856596"/>
                      <a:pt x="440064" y="857703"/>
                    </a:cubicBezTo>
                    <a:close/>
                    <a:moveTo>
                      <a:pt x="167960" y="815733"/>
                    </a:moveTo>
                    <a:lnTo>
                      <a:pt x="188966" y="824646"/>
                    </a:lnTo>
                    <a:lnTo>
                      <a:pt x="182246" y="909909"/>
                    </a:lnTo>
                    <a:cubicBezTo>
                      <a:pt x="181598" y="917840"/>
                      <a:pt x="181069" y="923756"/>
                      <a:pt x="180659" y="927656"/>
                    </a:cubicBezTo>
                    <a:cubicBezTo>
                      <a:pt x="183485" y="924328"/>
                      <a:pt x="187747" y="919487"/>
                      <a:pt x="193443" y="913132"/>
                    </a:cubicBezTo>
                    <a:lnTo>
                      <a:pt x="249826" y="850468"/>
                    </a:lnTo>
                    <a:lnTo>
                      <a:pt x="268602" y="858434"/>
                    </a:lnTo>
                    <a:lnTo>
                      <a:pt x="223856" y="963896"/>
                    </a:lnTo>
                    <a:lnTo>
                      <a:pt x="210403" y="958188"/>
                    </a:lnTo>
                    <a:lnTo>
                      <a:pt x="247854" y="869920"/>
                    </a:lnTo>
                    <a:lnTo>
                      <a:pt x="179758" y="945186"/>
                    </a:lnTo>
                    <a:lnTo>
                      <a:pt x="167168" y="939844"/>
                    </a:lnTo>
                    <a:lnTo>
                      <a:pt x="174759" y="837124"/>
                    </a:lnTo>
                    <a:lnTo>
                      <a:pt x="136667" y="926903"/>
                    </a:lnTo>
                    <a:lnTo>
                      <a:pt x="123214" y="921195"/>
                    </a:lnTo>
                    <a:close/>
                    <a:moveTo>
                      <a:pt x="535928" y="815716"/>
                    </a:moveTo>
                    <a:lnTo>
                      <a:pt x="541591" y="827993"/>
                    </a:lnTo>
                    <a:lnTo>
                      <a:pt x="480140" y="856339"/>
                    </a:lnTo>
                    <a:lnTo>
                      <a:pt x="494837" y="888200"/>
                    </a:lnTo>
                    <a:lnTo>
                      <a:pt x="552385" y="861654"/>
                    </a:lnTo>
                    <a:lnTo>
                      <a:pt x="558015" y="873859"/>
                    </a:lnTo>
                    <a:lnTo>
                      <a:pt x="500467" y="900405"/>
                    </a:lnTo>
                    <a:lnTo>
                      <a:pt x="516801" y="935814"/>
                    </a:lnTo>
                    <a:lnTo>
                      <a:pt x="580664" y="906355"/>
                    </a:lnTo>
                    <a:lnTo>
                      <a:pt x="586327" y="918631"/>
                    </a:lnTo>
                    <a:lnTo>
                      <a:pt x="508697" y="954441"/>
                    </a:lnTo>
                    <a:lnTo>
                      <a:pt x="460711" y="850413"/>
                    </a:lnTo>
                    <a:close/>
                    <a:moveTo>
                      <a:pt x="643609" y="88704"/>
                    </a:moveTo>
                    <a:lnTo>
                      <a:pt x="708000" y="140814"/>
                    </a:lnTo>
                    <a:lnTo>
                      <a:pt x="699495" y="151323"/>
                    </a:lnTo>
                    <a:lnTo>
                      <a:pt x="646889" y="108750"/>
                    </a:lnTo>
                    <a:lnTo>
                      <a:pt x="624817" y="136025"/>
                    </a:lnTo>
                    <a:lnTo>
                      <a:pt x="674082" y="175894"/>
                    </a:lnTo>
                    <a:lnTo>
                      <a:pt x="665626" y="186342"/>
                    </a:lnTo>
                    <a:lnTo>
                      <a:pt x="616361" y="146473"/>
                    </a:lnTo>
                    <a:lnTo>
                      <a:pt x="591830" y="176786"/>
                    </a:lnTo>
                    <a:lnTo>
                      <a:pt x="646502" y="221029"/>
                    </a:lnTo>
                    <a:lnTo>
                      <a:pt x="637997" y="231538"/>
                    </a:lnTo>
                    <a:lnTo>
                      <a:pt x="571541" y="177758"/>
                    </a:lnTo>
                    <a:close/>
                    <a:moveTo>
                      <a:pt x="87032" y="72364"/>
                    </a:moveTo>
                    <a:lnTo>
                      <a:pt x="156364" y="163564"/>
                    </a:lnTo>
                    <a:lnTo>
                      <a:pt x="144730" y="172408"/>
                    </a:lnTo>
                    <a:lnTo>
                      <a:pt x="86701" y="96076"/>
                    </a:lnTo>
                    <a:lnTo>
                      <a:pt x="118229" y="192555"/>
                    </a:lnTo>
                    <a:lnTo>
                      <a:pt x="107342" y="200831"/>
                    </a:lnTo>
                    <a:lnTo>
                      <a:pt x="21943" y="143246"/>
                    </a:lnTo>
                    <a:lnTo>
                      <a:pt x="80965" y="220884"/>
                    </a:lnTo>
                    <a:lnTo>
                      <a:pt x="69332" y="229728"/>
                    </a:lnTo>
                    <a:lnTo>
                      <a:pt x="0" y="138528"/>
                    </a:lnTo>
                    <a:lnTo>
                      <a:pt x="18165" y="124718"/>
                    </a:lnTo>
                    <a:lnTo>
                      <a:pt x="88842" y="172881"/>
                    </a:lnTo>
                    <a:cubicBezTo>
                      <a:pt x="95405" y="177381"/>
                      <a:pt x="100277" y="180778"/>
                      <a:pt x="103460" y="183070"/>
                    </a:cubicBezTo>
                    <a:cubicBezTo>
                      <a:pt x="101974" y="178964"/>
                      <a:pt x="99887" y="172861"/>
                      <a:pt x="97198" y="164762"/>
                    </a:cubicBezTo>
                    <a:lnTo>
                      <a:pt x="70795" y="84708"/>
                    </a:lnTo>
                    <a:close/>
                    <a:moveTo>
                      <a:pt x="167902" y="49012"/>
                    </a:moveTo>
                    <a:cubicBezTo>
                      <a:pt x="169200" y="56388"/>
                      <a:pt x="169921" y="63932"/>
                      <a:pt x="170064" y="71645"/>
                    </a:cubicBezTo>
                    <a:lnTo>
                      <a:pt x="170493" y="107523"/>
                    </a:lnTo>
                    <a:lnTo>
                      <a:pt x="206700" y="93471"/>
                    </a:lnTo>
                    <a:lnTo>
                      <a:pt x="184074" y="68219"/>
                    </a:lnTo>
                    <a:cubicBezTo>
                      <a:pt x="177187" y="60553"/>
                      <a:pt x="171797" y="54151"/>
                      <a:pt x="167902" y="49012"/>
                    </a:cubicBezTo>
                    <a:close/>
                    <a:moveTo>
                      <a:pt x="532118" y="37907"/>
                    </a:moveTo>
                    <a:cubicBezTo>
                      <a:pt x="542015" y="37110"/>
                      <a:pt x="552192" y="38993"/>
                      <a:pt x="562649" y="43557"/>
                    </a:cubicBezTo>
                    <a:cubicBezTo>
                      <a:pt x="570242" y="46870"/>
                      <a:pt x="576569" y="51094"/>
                      <a:pt x="581632" y="56231"/>
                    </a:cubicBezTo>
                    <a:cubicBezTo>
                      <a:pt x="586694" y="61367"/>
                      <a:pt x="590010" y="66892"/>
                      <a:pt x="591579" y="72806"/>
                    </a:cubicBezTo>
                    <a:cubicBezTo>
                      <a:pt x="593148" y="78720"/>
                      <a:pt x="593297" y="85607"/>
                      <a:pt x="592028" y="93465"/>
                    </a:cubicBezTo>
                    <a:lnTo>
                      <a:pt x="577994" y="91434"/>
                    </a:lnTo>
                    <a:cubicBezTo>
                      <a:pt x="578752" y="85398"/>
                      <a:pt x="578627" y="80342"/>
                      <a:pt x="577621" y="76265"/>
                    </a:cubicBezTo>
                    <a:cubicBezTo>
                      <a:pt x="576615" y="72188"/>
                      <a:pt x="574341" y="68283"/>
                      <a:pt x="570798" y="64548"/>
                    </a:cubicBezTo>
                    <a:cubicBezTo>
                      <a:pt x="567255" y="60814"/>
                      <a:pt x="562833" y="57790"/>
                      <a:pt x="557533" y="55477"/>
                    </a:cubicBezTo>
                    <a:cubicBezTo>
                      <a:pt x="551182" y="52706"/>
                      <a:pt x="545269" y="51277"/>
                      <a:pt x="539794" y="51190"/>
                    </a:cubicBezTo>
                    <a:cubicBezTo>
                      <a:pt x="534318" y="51102"/>
                      <a:pt x="529472" y="52015"/>
                      <a:pt x="525256" y="53926"/>
                    </a:cubicBezTo>
                    <a:cubicBezTo>
                      <a:pt x="521040" y="55838"/>
                      <a:pt x="517321" y="58336"/>
                      <a:pt x="514099" y="61421"/>
                    </a:cubicBezTo>
                    <a:cubicBezTo>
                      <a:pt x="508591" y="66748"/>
                      <a:pt x="504181" y="73207"/>
                      <a:pt x="500868" y="80799"/>
                    </a:cubicBezTo>
                    <a:cubicBezTo>
                      <a:pt x="496784" y="90158"/>
                      <a:pt x="494979" y="98692"/>
                      <a:pt x="495451" y="106401"/>
                    </a:cubicBezTo>
                    <a:cubicBezTo>
                      <a:pt x="495924" y="114111"/>
                      <a:pt x="498574" y="120837"/>
                      <a:pt x="503400" y="126581"/>
                    </a:cubicBezTo>
                    <a:cubicBezTo>
                      <a:pt x="508226" y="132325"/>
                      <a:pt x="514101" y="136707"/>
                      <a:pt x="521024" y="139729"/>
                    </a:cubicBezTo>
                    <a:cubicBezTo>
                      <a:pt x="527041" y="142354"/>
                      <a:pt x="533419" y="143759"/>
                      <a:pt x="540159" y="143943"/>
                    </a:cubicBezTo>
                    <a:cubicBezTo>
                      <a:pt x="546900" y="144128"/>
                      <a:pt x="552323" y="143553"/>
                      <a:pt x="556430" y="142219"/>
                    </a:cubicBezTo>
                    <a:lnTo>
                      <a:pt x="564962" y="122665"/>
                    </a:lnTo>
                    <a:lnTo>
                      <a:pt x="534092" y="109195"/>
                    </a:lnTo>
                    <a:lnTo>
                      <a:pt x="539468" y="96876"/>
                    </a:lnTo>
                    <a:lnTo>
                      <a:pt x="583977" y="116213"/>
                    </a:lnTo>
                    <a:lnTo>
                      <a:pt x="566975" y="155176"/>
                    </a:lnTo>
                    <a:cubicBezTo>
                      <a:pt x="557772" y="157640"/>
                      <a:pt x="548942" y="158661"/>
                      <a:pt x="540486" y="158239"/>
                    </a:cubicBezTo>
                    <a:cubicBezTo>
                      <a:pt x="532030" y="157818"/>
                      <a:pt x="523982" y="155940"/>
                      <a:pt x="516343" y="152607"/>
                    </a:cubicBezTo>
                    <a:cubicBezTo>
                      <a:pt x="506029" y="148106"/>
                      <a:pt x="497622" y="141809"/>
                      <a:pt x="491121" y="133714"/>
                    </a:cubicBezTo>
                    <a:cubicBezTo>
                      <a:pt x="484621" y="125620"/>
                      <a:pt x="481045" y="116457"/>
                      <a:pt x="480394" y="106226"/>
                    </a:cubicBezTo>
                    <a:cubicBezTo>
                      <a:pt x="479743" y="95994"/>
                      <a:pt x="481668" y="85722"/>
                      <a:pt x="486168" y="75408"/>
                    </a:cubicBezTo>
                    <a:cubicBezTo>
                      <a:pt x="490627" y="65190"/>
                      <a:pt x="496926" y="56584"/>
                      <a:pt x="505065" y="49592"/>
                    </a:cubicBezTo>
                    <a:cubicBezTo>
                      <a:pt x="513203" y="42599"/>
                      <a:pt x="522221" y="38704"/>
                      <a:pt x="532118" y="37907"/>
                    </a:cubicBezTo>
                    <a:close/>
                    <a:moveTo>
                      <a:pt x="171489" y="34712"/>
                    </a:moveTo>
                    <a:lnTo>
                      <a:pt x="256649" y="124547"/>
                    </a:lnTo>
                    <a:lnTo>
                      <a:pt x="240549" y="130796"/>
                    </a:lnTo>
                    <a:lnTo>
                      <a:pt x="215538" y="103285"/>
                    </a:lnTo>
                    <a:lnTo>
                      <a:pt x="170880" y="120617"/>
                    </a:lnTo>
                    <a:lnTo>
                      <a:pt x="171705" y="157515"/>
                    </a:lnTo>
                    <a:lnTo>
                      <a:pt x="156697" y="163339"/>
                    </a:lnTo>
                    <a:lnTo>
                      <a:pt x="156263" y="40621"/>
                    </a:lnTo>
                    <a:close/>
                    <a:moveTo>
                      <a:pt x="422855" y="18265"/>
                    </a:moveTo>
                    <a:cubicBezTo>
                      <a:pt x="420364" y="25328"/>
                      <a:pt x="417287" y="32254"/>
                      <a:pt x="413625" y="39042"/>
                    </a:cubicBezTo>
                    <a:lnTo>
                      <a:pt x="396380" y="70507"/>
                    </a:lnTo>
                    <a:lnTo>
                      <a:pt x="434821" y="76046"/>
                    </a:lnTo>
                    <a:lnTo>
                      <a:pt x="427512" y="42938"/>
                    </a:lnTo>
                    <a:cubicBezTo>
                      <a:pt x="425277" y="32878"/>
                      <a:pt x="423724" y="24654"/>
                      <a:pt x="422855" y="18265"/>
                    </a:cubicBezTo>
                    <a:close/>
                    <a:moveTo>
                      <a:pt x="416837" y="5240"/>
                    </a:moveTo>
                    <a:lnTo>
                      <a:pt x="433002" y="7569"/>
                    </a:lnTo>
                    <a:lnTo>
                      <a:pt x="463073" y="127646"/>
                    </a:lnTo>
                    <a:lnTo>
                      <a:pt x="445979" y="125183"/>
                    </a:lnTo>
                    <a:lnTo>
                      <a:pt x="437701" y="88935"/>
                    </a:lnTo>
                    <a:lnTo>
                      <a:pt x="390287" y="82104"/>
                    </a:lnTo>
                    <a:lnTo>
                      <a:pt x="372887" y="114652"/>
                    </a:lnTo>
                    <a:lnTo>
                      <a:pt x="356953" y="112356"/>
                    </a:lnTo>
                    <a:close/>
                    <a:moveTo>
                      <a:pt x="337655" y="0"/>
                    </a:moveTo>
                    <a:lnTo>
                      <a:pt x="350563" y="113832"/>
                    </a:lnTo>
                    <a:lnTo>
                      <a:pt x="335111" y="115585"/>
                    </a:lnTo>
                    <a:lnTo>
                      <a:pt x="265179" y="32914"/>
                    </a:lnTo>
                    <a:lnTo>
                      <a:pt x="275322" y="122364"/>
                    </a:lnTo>
                    <a:lnTo>
                      <a:pt x="260880" y="124002"/>
                    </a:lnTo>
                    <a:lnTo>
                      <a:pt x="247972" y="10170"/>
                    </a:lnTo>
                    <a:lnTo>
                      <a:pt x="263424" y="8418"/>
                    </a:lnTo>
                    <a:lnTo>
                      <a:pt x="333347" y="91011"/>
                    </a:lnTo>
                    <a:lnTo>
                      <a:pt x="323213" y="1638"/>
                    </a:lnTo>
                    <a:close/>
                  </a:path>
                </a:pathLst>
              </a:custGeom>
              <a:solidFill>
                <a:schemeClr val="accent1">
                  <a:lumMod val="75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70" name="Groupe 40"/>
              <p:cNvGrpSpPr/>
              <p:nvPr/>
            </p:nvGrpSpPr>
            <p:grpSpPr>
              <a:xfrm>
                <a:off x="3105309" y="3710409"/>
                <a:ext cx="576000" cy="576000"/>
                <a:chOff x="3105309" y="3694283"/>
                <a:chExt cx="576000" cy="576000"/>
              </a:xfrm>
            </p:grpSpPr>
            <p:sp>
              <p:nvSpPr>
                <p:cNvPr id="71" name="Ellipse 41"/>
                <p:cNvSpPr>
                  <a:spLocks noChangeAspect="1"/>
                </p:cNvSpPr>
                <p:nvPr/>
              </p:nvSpPr>
              <p:spPr bwMode="auto">
                <a:xfrm>
                  <a:off x="3105309" y="3694283"/>
                  <a:ext cx="576000" cy="576000"/>
                </a:xfrm>
                <a:prstGeom prst="ellipse">
                  <a:avLst/>
                </a:prstGeom>
                <a:solidFill>
                  <a:srgbClr val="FFC000"/>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72" name="Groupe 42"/>
                <p:cNvGrpSpPr>
                  <a:grpSpLocks noChangeAspect="1"/>
                </p:cNvGrpSpPr>
                <p:nvPr/>
              </p:nvGrpSpPr>
              <p:grpSpPr>
                <a:xfrm>
                  <a:off x="3231031" y="3739767"/>
                  <a:ext cx="324555" cy="449665"/>
                  <a:chOff x="3728623" y="1990327"/>
                  <a:chExt cx="1139515" cy="1578776"/>
                </a:xfrm>
              </p:grpSpPr>
              <p:sp>
                <p:nvSpPr>
                  <p:cNvPr id="73" name="Forme libre : forme 43"/>
                  <p:cNvSpPr/>
                  <p:nvPr/>
                </p:nvSpPr>
                <p:spPr bwMode="auto">
                  <a:xfrm>
                    <a:off x="4003080" y="3135723"/>
                    <a:ext cx="19050" cy="50006"/>
                  </a:xfrm>
                  <a:custGeom>
                    <a:avLst/>
                    <a:gdLst>
                      <a:gd name="connsiteX0" fmla="*/ 19055 w 19055"/>
                      <a:gd name="connsiteY0" fmla="*/ 0 h 59531"/>
                      <a:gd name="connsiteX1" fmla="*/ 19055 w 19055"/>
                      <a:gd name="connsiteY1" fmla="*/ 0 h 59531"/>
                      <a:gd name="connsiteX2" fmla="*/ 16674 w 19055"/>
                      <a:gd name="connsiteY2" fmla="*/ 21431 h 59531"/>
                      <a:gd name="connsiteX3" fmla="*/ 11912 w 19055"/>
                      <a:gd name="connsiteY3" fmla="*/ 30956 h 59531"/>
                      <a:gd name="connsiteX4" fmla="*/ 9530 w 19055"/>
                      <a:gd name="connsiteY4" fmla="*/ 40481 h 59531"/>
                      <a:gd name="connsiteX5" fmla="*/ 4768 w 19055"/>
                      <a:gd name="connsiteY5" fmla="*/ 47625 h 59531"/>
                      <a:gd name="connsiteX6" fmla="*/ 5 w 19055"/>
                      <a:gd name="connsiteY6" fmla="*/ 59531 h 59531"/>
                      <a:gd name="connsiteX0" fmla="*/ 19050 w 19050"/>
                      <a:gd name="connsiteY0" fmla="*/ 0 h 59531"/>
                      <a:gd name="connsiteX1" fmla="*/ 19050 w 19050"/>
                      <a:gd name="connsiteY1" fmla="*/ 0 h 59531"/>
                      <a:gd name="connsiteX2" fmla="*/ 16669 w 19050"/>
                      <a:gd name="connsiteY2" fmla="*/ 21431 h 59531"/>
                      <a:gd name="connsiteX3" fmla="*/ 11907 w 19050"/>
                      <a:gd name="connsiteY3" fmla="*/ 30956 h 59531"/>
                      <a:gd name="connsiteX4" fmla="*/ 9525 w 19050"/>
                      <a:gd name="connsiteY4" fmla="*/ 40481 h 59531"/>
                      <a:gd name="connsiteX5" fmla="*/ 0 w 19050"/>
                      <a:gd name="connsiteY5" fmla="*/ 59531 h 59531"/>
                      <a:gd name="connsiteX0" fmla="*/ 19050 w 19050"/>
                      <a:gd name="connsiteY0" fmla="*/ 0 h 59531"/>
                      <a:gd name="connsiteX1" fmla="*/ 19050 w 19050"/>
                      <a:gd name="connsiteY1" fmla="*/ 0 h 59531"/>
                      <a:gd name="connsiteX2" fmla="*/ 16669 w 19050"/>
                      <a:gd name="connsiteY2" fmla="*/ 21431 h 59531"/>
                      <a:gd name="connsiteX3" fmla="*/ 11907 w 19050"/>
                      <a:gd name="connsiteY3" fmla="*/ 30956 h 59531"/>
                      <a:gd name="connsiteX4" fmla="*/ 0 w 19050"/>
                      <a:gd name="connsiteY4" fmla="*/ 59531 h 59531"/>
                      <a:gd name="connsiteX0" fmla="*/ 19050 w 19050"/>
                      <a:gd name="connsiteY0" fmla="*/ 0 h 59531"/>
                      <a:gd name="connsiteX1" fmla="*/ 19050 w 19050"/>
                      <a:gd name="connsiteY1" fmla="*/ 0 h 59531"/>
                      <a:gd name="connsiteX2" fmla="*/ 16669 w 19050"/>
                      <a:gd name="connsiteY2" fmla="*/ 21431 h 59531"/>
                      <a:gd name="connsiteX3" fmla="*/ 0 w 19050"/>
                      <a:gd name="connsiteY3" fmla="*/ 59531 h 59531"/>
                      <a:gd name="connsiteX0" fmla="*/ 19050 w 19050"/>
                      <a:gd name="connsiteY0" fmla="*/ 0 h 59531"/>
                      <a:gd name="connsiteX1" fmla="*/ 19050 w 19050"/>
                      <a:gd name="connsiteY1" fmla="*/ 0 h 59531"/>
                      <a:gd name="connsiteX2" fmla="*/ 0 w 19050"/>
                      <a:gd name="connsiteY2" fmla="*/ 59531 h 59531"/>
                      <a:gd name="connsiteX0" fmla="*/ 19050 w 19050"/>
                      <a:gd name="connsiteY0" fmla="*/ 0 h 59531"/>
                      <a:gd name="connsiteX1" fmla="*/ 19050 w 19050"/>
                      <a:gd name="connsiteY1" fmla="*/ 0 h 59531"/>
                      <a:gd name="connsiteX2" fmla="*/ 7143 w 19050"/>
                      <a:gd name="connsiteY2" fmla="*/ 38100 h 59531"/>
                      <a:gd name="connsiteX3" fmla="*/ 0 w 19050"/>
                      <a:gd name="connsiteY3" fmla="*/ 59531 h 59531"/>
                      <a:gd name="connsiteX0" fmla="*/ 19050 w 19050"/>
                      <a:gd name="connsiteY0" fmla="*/ 0 h 59531"/>
                      <a:gd name="connsiteX1" fmla="*/ 19050 w 19050"/>
                      <a:gd name="connsiteY1" fmla="*/ 0 h 59531"/>
                      <a:gd name="connsiteX2" fmla="*/ 0 w 19050"/>
                      <a:gd name="connsiteY2" fmla="*/ 59531 h 59531"/>
                      <a:gd name="connsiteX0" fmla="*/ 19050 w 19050"/>
                      <a:gd name="connsiteY0" fmla="*/ 0 h 59531"/>
                      <a:gd name="connsiteX1" fmla="*/ 19050 w 19050"/>
                      <a:gd name="connsiteY1" fmla="*/ 0 h 59531"/>
                      <a:gd name="connsiteX2" fmla="*/ 0 w 19050"/>
                      <a:gd name="connsiteY2" fmla="*/ 59531 h 59531"/>
                      <a:gd name="connsiteX0" fmla="*/ 19050 w 19050"/>
                      <a:gd name="connsiteY0" fmla="*/ 0 h 59531"/>
                      <a:gd name="connsiteX1" fmla="*/ 16668 w 19050"/>
                      <a:gd name="connsiteY1" fmla="*/ 11906 h 59531"/>
                      <a:gd name="connsiteX2" fmla="*/ 0 w 19050"/>
                      <a:gd name="connsiteY2" fmla="*/ 59531 h 59531"/>
                      <a:gd name="connsiteX0" fmla="*/ 19050 w 19050"/>
                      <a:gd name="connsiteY0" fmla="*/ 0 h 59531"/>
                      <a:gd name="connsiteX1" fmla="*/ 0 w 19050"/>
                      <a:gd name="connsiteY1" fmla="*/ 59531 h 59531"/>
                      <a:gd name="connsiteX0" fmla="*/ 19050 w 19050"/>
                      <a:gd name="connsiteY0" fmla="*/ 0 h 50006"/>
                      <a:gd name="connsiteX1" fmla="*/ 0 w 19050"/>
                      <a:gd name="connsiteY1" fmla="*/ 50006 h 50006"/>
                      <a:gd name="connsiteX0" fmla="*/ 19050 w 19050"/>
                      <a:gd name="connsiteY0" fmla="*/ 0 h 50006"/>
                      <a:gd name="connsiteX1" fmla="*/ 0 w 19050"/>
                      <a:gd name="connsiteY1" fmla="*/ 50006 h 50006"/>
                    </a:gdLst>
                    <a:ahLst/>
                    <a:cxnLst>
                      <a:cxn ang="0">
                        <a:pos x="connsiteX0" y="connsiteY0"/>
                      </a:cxn>
                      <a:cxn ang="0">
                        <a:pos x="connsiteX1" y="connsiteY1"/>
                      </a:cxn>
                    </a:cxnLst>
                    <a:rect l="l" t="t" r="r" b="b"/>
                    <a:pathLst>
                      <a:path w="19050" h="50006">
                        <a:moveTo>
                          <a:pt x="19050" y="0"/>
                        </a:moveTo>
                        <a:lnTo>
                          <a:pt x="0" y="50006"/>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74" name="Forme libre : forme 44"/>
                  <p:cNvSpPr/>
                  <p:nvPr/>
                </p:nvSpPr>
                <p:spPr bwMode="auto">
                  <a:xfrm>
                    <a:off x="4099720" y="2772173"/>
                    <a:ext cx="412904" cy="332600"/>
                  </a:xfrm>
                  <a:custGeom>
                    <a:avLst/>
                    <a:gdLst>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47675"/>
                      <a:gd name="connsiteY0" fmla="*/ 0 h 346075"/>
                      <a:gd name="connsiteX1" fmla="*/ 269875 w 447675"/>
                      <a:gd name="connsiteY1" fmla="*/ 133350 h 346075"/>
                      <a:gd name="connsiteX2" fmla="*/ 447675 w 447675"/>
                      <a:gd name="connsiteY2" fmla="*/ 244475 h 346075"/>
                      <a:gd name="connsiteX3" fmla="*/ 330200 w 447675"/>
                      <a:gd name="connsiteY3" fmla="*/ 346075 h 346075"/>
                      <a:gd name="connsiteX0" fmla="*/ 0 w 457803"/>
                      <a:gd name="connsiteY0" fmla="*/ 0 h 346075"/>
                      <a:gd name="connsiteX1" fmla="*/ 269875 w 457803"/>
                      <a:gd name="connsiteY1" fmla="*/ 133350 h 346075"/>
                      <a:gd name="connsiteX2" fmla="*/ 447675 w 457803"/>
                      <a:gd name="connsiteY2" fmla="*/ 244475 h 346075"/>
                      <a:gd name="connsiteX3" fmla="*/ 330200 w 457803"/>
                      <a:gd name="connsiteY3" fmla="*/ 346075 h 346075"/>
                      <a:gd name="connsiteX0" fmla="*/ 0 w 448001"/>
                      <a:gd name="connsiteY0" fmla="*/ 0 h 346075"/>
                      <a:gd name="connsiteX1" fmla="*/ 269875 w 448001"/>
                      <a:gd name="connsiteY1" fmla="*/ 133350 h 346075"/>
                      <a:gd name="connsiteX2" fmla="*/ 447675 w 448001"/>
                      <a:gd name="connsiteY2" fmla="*/ 244475 h 346075"/>
                      <a:gd name="connsiteX3" fmla="*/ 330200 w 448001"/>
                      <a:gd name="connsiteY3" fmla="*/ 346075 h 346075"/>
                      <a:gd name="connsiteX0" fmla="*/ 0 w 441702"/>
                      <a:gd name="connsiteY0" fmla="*/ 0 h 346075"/>
                      <a:gd name="connsiteX1" fmla="*/ 269875 w 441702"/>
                      <a:gd name="connsiteY1" fmla="*/ 133350 h 346075"/>
                      <a:gd name="connsiteX2" fmla="*/ 441325 w 441702"/>
                      <a:gd name="connsiteY2" fmla="*/ 260350 h 346075"/>
                      <a:gd name="connsiteX3" fmla="*/ 330200 w 441702"/>
                      <a:gd name="connsiteY3" fmla="*/ 346075 h 346075"/>
                      <a:gd name="connsiteX0" fmla="*/ 0 w 441362"/>
                      <a:gd name="connsiteY0" fmla="*/ 0 h 346075"/>
                      <a:gd name="connsiteX1" fmla="*/ 269875 w 441362"/>
                      <a:gd name="connsiteY1" fmla="*/ 133350 h 346075"/>
                      <a:gd name="connsiteX2" fmla="*/ 441325 w 441362"/>
                      <a:gd name="connsiteY2" fmla="*/ 260350 h 346075"/>
                      <a:gd name="connsiteX3" fmla="*/ 330200 w 441362"/>
                      <a:gd name="connsiteY3" fmla="*/ 346075 h 346075"/>
                      <a:gd name="connsiteX0" fmla="*/ 0 w 441362"/>
                      <a:gd name="connsiteY0" fmla="*/ 0 h 346075"/>
                      <a:gd name="connsiteX1" fmla="*/ 269875 w 441362"/>
                      <a:gd name="connsiteY1" fmla="*/ 133350 h 346075"/>
                      <a:gd name="connsiteX2" fmla="*/ 441325 w 441362"/>
                      <a:gd name="connsiteY2" fmla="*/ 260350 h 346075"/>
                      <a:gd name="connsiteX3" fmla="*/ 330200 w 441362"/>
                      <a:gd name="connsiteY3" fmla="*/ 346075 h 346075"/>
                      <a:gd name="connsiteX0" fmla="*/ 0 w 441362"/>
                      <a:gd name="connsiteY0" fmla="*/ 0 h 346075"/>
                      <a:gd name="connsiteX1" fmla="*/ 269875 w 441362"/>
                      <a:gd name="connsiteY1" fmla="*/ 133350 h 346075"/>
                      <a:gd name="connsiteX2" fmla="*/ 441325 w 441362"/>
                      <a:gd name="connsiteY2" fmla="*/ 260350 h 346075"/>
                      <a:gd name="connsiteX3" fmla="*/ 330200 w 441362"/>
                      <a:gd name="connsiteY3" fmla="*/ 346075 h 346075"/>
                      <a:gd name="connsiteX0" fmla="*/ 0 w 442468"/>
                      <a:gd name="connsiteY0" fmla="*/ 0 h 346075"/>
                      <a:gd name="connsiteX1" fmla="*/ 269875 w 442468"/>
                      <a:gd name="connsiteY1" fmla="*/ 133350 h 346075"/>
                      <a:gd name="connsiteX2" fmla="*/ 441325 w 442468"/>
                      <a:gd name="connsiteY2" fmla="*/ 260350 h 346075"/>
                      <a:gd name="connsiteX3" fmla="*/ 330200 w 442468"/>
                      <a:gd name="connsiteY3" fmla="*/ 346075 h 346075"/>
                      <a:gd name="connsiteX0" fmla="*/ 0 w 442943"/>
                      <a:gd name="connsiteY0" fmla="*/ 0 h 346075"/>
                      <a:gd name="connsiteX1" fmla="*/ 269875 w 442943"/>
                      <a:gd name="connsiteY1" fmla="*/ 133350 h 346075"/>
                      <a:gd name="connsiteX2" fmla="*/ 441325 w 442943"/>
                      <a:gd name="connsiteY2" fmla="*/ 260350 h 346075"/>
                      <a:gd name="connsiteX3" fmla="*/ 330200 w 442943"/>
                      <a:gd name="connsiteY3" fmla="*/ 346075 h 346075"/>
                      <a:gd name="connsiteX0" fmla="*/ 0 w 442544"/>
                      <a:gd name="connsiteY0" fmla="*/ 0 h 349250"/>
                      <a:gd name="connsiteX1" fmla="*/ 269875 w 442544"/>
                      <a:gd name="connsiteY1" fmla="*/ 133350 h 349250"/>
                      <a:gd name="connsiteX2" fmla="*/ 441325 w 442544"/>
                      <a:gd name="connsiteY2" fmla="*/ 260350 h 349250"/>
                      <a:gd name="connsiteX3" fmla="*/ 330200 w 442544"/>
                      <a:gd name="connsiteY3" fmla="*/ 349250 h 349250"/>
                      <a:gd name="connsiteX0" fmla="*/ 0 w 442828"/>
                      <a:gd name="connsiteY0" fmla="*/ 0 h 349265"/>
                      <a:gd name="connsiteX1" fmla="*/ 269875 w 442828"/>
                      <a:gd name="connsiteY1" fmla="*/ 133350 h 349265"/>
                      <a:gd name="connsiteX2" fmla="*/ 441325 w 442828"/>
                      <a:gd name="connsiteY2" fmla="*/ 260350 h 349265"/>
                      <a:gd name="connsiteX3" fmla="*/ 330200 w 442828"/>
                      <a:gd name="connsiteY3" fmla="*/ 349250 h 349265"/>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2124"/>
                      <a:gd name="connsiteY0" fmla="*/ 0 h 349278"/>
                      <a:gd name="connsiteX1" fmla="*/ 269875 w 442124"/>
                      <a:gd name="connsiteY1" fmla="*/ 133350 h 349278"/>
                      <a:gd name="connsiteX2" fmla="*/ 441325 w 442124"/>
                      <a:gd name="connsiteY2" fmla="*/ 260350 h 349278"/>
                      <a:gd name="connsiteX3" fmla="*/ 330200 w 442124"/>
                      <a:gd name="connsiteY3" fmla="*/ 349250 h 349278"/>
                      <a:gd name="connsiteX0" fmla="*/ 0 w 441866"/>
                      <a:gd name="connsiteY0" fmla="*/ 0 h 349278"/>
                      <a:gd name="connsiteX1" fmla="*/ 269875 w 441866"/>
                      <a:gd name="connsiteY1" fmla="*/ 133350 h 349278"/>
                      <a:gd name="connsiteX2" fmla="*/ 441325 w 441866"/>
                      <a:gd name="connsiteY2" fmla="*/ 260350 h 349278"/>
                      <a:gd name="connsiteX3" fmla="*/ 330200 w 441866"/>
                      <a:gd name="connsiteY3" fmla="*/ 349250 h 349278"/>
                      <a:gd name="connsiteX0" fmla="*/ 0 w 441866"/>
                      <a:gd name="connsiteY0" fmla="*/ 0 h 349278"/>
                      <a:gd name="connsiteX1" fmla="*/ 269875 w 441866"/>
                      <a:gd name="connsiteY1" fmla="*/ 133350 h 349278"/>
                      <a:gd name="connsiteX2" fmla="*/ 441325 w 441866"/>
                      <a:gd name="connsiteY2" fmla="*/ 260350 h 349278"/>
                      <a:gd name="connsiteX3" fmla="*/ 330200 w 441866"/>
                      <a:gd name="connsiteY3" fmla="*/ 349250 h 349278"/>
                      <a:gd name="connsiteX0" fmla="*/ 0 w 425197"/>
                      <a:gd name="connsiteY0" fmla="*/ 0 h 327847"/>
                      <a:gd name="connsiteX1" fmla="*/ 253206 w 425197"/>
                      <a:gd name="connsiteY1" fmla="*/ 111919 h 327847"/>
                      <a:gd name="connsiteX2" fmla="*/ 424656 w 425197"/>
                      <a:gd name="connsiteY2" fmla="*/ 238919 h 327847"/>
                      <a:gd name="connsiteX3" fmla="*/ 313531 w 425197"/>
                      <a:gd name="connsiteY3" fmla="*/ 327819 h 327847"/>
                      <a:gd name="connsiteX0" fmla="*/ 0 w 425197"/>
                      <a:gd name="connsiteY0" fmla="*/ 0 h 327847"/>
                      <a:gd name="connsiteX1" fmla="*/ 253206 w 425197"/>
                      <a:gd name="connsiteY1" fmla="*/ 111919 h 327847"/>
                      <a:gd name="connsiteX2" fmla="*/ 424656 w 425197"/>
                      <a:gd name="connsiteY2" fmla="*/ 238919 h 327847"/>
                      <a:gd name="connsiteX3" fmla="*/ 313531 w 425197"/>
                      <a:gd name="connsiteY3" fmla="*/ 327819 h 327847"/>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672"/>
                      <a:gd name="connsiteY0" fmla="*/ 0 h 332610"/>
                      <a:gd name="connsiteX1" fmla="*/ 243681 w 415672"/>
                      <a:gd name="connsiteY1" fmla="*/ 116682 h 332610"/>
                      <a:gd name="connsiteX2" fmla="*/ 415131 w 415672"/>
                      <a:gd name="connsiteY2" fmla="*/ 243682 h 332610"/>
                      <a:gd name="connsiteX3" fmla="*/ 304006 w 415672"/>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5408"/>
                      <a:gd name="connsiteY0" fmla="*/ 0 h 332610"/>
                      <a:gd name="connsiteX1" fmla="*/ 243681 w 415408"/>
                      <a:gd name="connsiteY1" fmla="*/ 116682 h 332610"/>
                      <a:gd name="connsiteX2" fmla="*/ 415131 w 415408"/>
                      <a:gd name="connsiteY2" fmla="*/ 243682 h 332610"/>
                      <a:gd name="connsiteX3" fmla="*/ 304006 w 415408"/>
                      <a:gd name="connsiteY3" fmla="*/ 332582 h 332610"/>
                      <a:gd name="connsiteX0" fmla="*/ 0 w 413044"/>
                      <a:gd name="connsiteY0" fmla="*/ 0 h 332619"/>
                      <a:gd name="connsiteX1" fmla="*/ 243681 w 413044"/>
                      <a:gd name="connsiteY1" fmla="*/ 116682 h 332619"/>
                      <a:gd name="connsiteX2" fmla="*/ 412749 w 413044"/>
                      <a:gd name="connsiteY2" fmla="*/ 250825 h 332619"/>
                      <a:gd name="connsiteX3" fmla="*/ 304006 w 413044"/>
                      <a:gd name="connsiteY3" fmla="*/ 332582 h 332619"/>
                      <a:gd name="connsiteX0" fmla="*/ 0 w 413044"/>
                      <a:gd name="connsiteY0" fmla="*/ 0 h 332619"/>
                      <a:gd name="connsiteX1" fmla="*/ 243681 w 413044"/>
                      <a:gd name="connsiteY1" fmla="*/ 116682 h 332619"/>
                      <a:gd name="connsiteX2" fmla="*/ 412749 w 413044"/>
                      <a:gd name="connsiteY2" fmla="*/ 250825 h 332619"/>
                      <a:gd name="connsiteX3" fmla="*/ 304006 w 413044"/>
                      <a:gd name="connsiteY3" fmla="*/ 332582 h 332619"/>
                      <a:gd name="connsiteX0" fmla="*/ 0 w 413044"/>
                      <a:gd name="connsiteY0" fmla="*/ 0 h 332619"/>
                      <a:gd name="connsiteX1" fmla="*/ 243681 w 413044"/>
                      <a:gd name="connsiteY1" fmla="*/ 116682 h 332619"/>
                      <a:gd name="connsiteX2" fmla="*/ 412749 w 413044"/>
                      <a:gd name="connsiteY2" fmla="*/ 250825 h 332619"/>
                      <a:gd name="connsiteX3" fmla="*/ 304006 w 413044"/>
                      <a:gd name="connsiteY3" fmla="*/ 332582 h 332619"/>
                      <a:gd name="connsiteX0" fmla="*/ 0 w 416643"/>
                      <a:gd name="connsiteY0" fmla="*/ 0 h 332599"/>
                      <a:gd name="connsiteX1" fmla="*/ 243681 w 416643"/>
                      <a:gd name="connsiteY1" fmla="*/ 116682 h 332599"/>
                      <a:gd name="connsiteX2" fmla="*/ 412749 w 416643"/>
                      <a:gd name="connsiteY2" fmla="*/ 250825 h 332599"/>
                      <a:gd name="connsiteX3" fmla="*/ 325437 w 416643"/>
                      <a:gd name="connsiteY3" fmla="*/ 332582 h 332599"/>
                      <a:gd name="connsiteX0" fmla="*/ 0 w 416643"/>
                      <a:gd name="connsiteY0" fmla="*/ 0 h 332599"/>
                      <a:gd name="connsiteX1" fmla="*/ 243681 w 416643"/>
                      <a:gd name="connsiteY1" fmla="*/ 116682 h 332599"/>
                      <a:gd name="connsiteX2" fmla="*/ 412749 w 416643"/>
                      <a:gd name="connsiteY2" fmla="*/ 250825 h 332599"/>
                      <a:gd name="connsiteX3" fmla="*/ 325437 w 416643"/>
                      <a:gd name="connsiteY3" fmla="*/ 332582 h 332599"/>
                      <a:gd name="connsiteX0" fmla="*/ 0 w 412958"/>
                      <a:gd name="connsiteY0" fmla="*/ 0 h 332600"/>
                      <a:gd name="connsiteX1" fmla="*/ 243681 w 412958"/>
                      <a:gd name="connsiteY1" fmla="*/ 116682 h 332600"/>
                      <a:gd name="connsiteX2" fmla="*/ 412749 w 412958"/>
                      <a:gd name="connsiteY2" fmla="*/ 250825 h 332600"/>
                      <a:gd name="connsiteX3" fmla="*/ 325437 w 412958"/>
                      <a:gd name="connsiteY3" fmla="*/ 332582 h 332600"/>
                      <a:gd name="connsiteX0" fmla="*/ 0 w 412958"/>
                      <a:gd name="connsiteY0" fmla="*/ 0 h 332600"/>
                      <a:gd name="connsiteX1" fmla="*/ 243681 w 412958"/>
                      <a:gd name="connsiteY1" fmla="*/ 116682 h 332600"/>
                      <a:gd name="connsiteX2" fmla="*/ 412749 w 412958"/>
                      <a:gd name="connsiteY2" fmla="*/ 250825 h 332600"/>
                      <a:gd name="connsiteX3" fmla="*/ 325437 w 412958"/>
                      <a:gd name="connsiteY3" fmla="*/ 332582 h 332600"/>
                      <a:gd name="connsiteX0" fmla="*/ 0 w 412847"/>
                      <a:gd name="connsiteY0" fmla="*/ 0 h 332600"/>
                      <a:gd name="connsiteX1" fmla="*/ 243681 w 412847"/>
                      <a:gd name="connsiteY1" fmla="*/ 116682 h 332600"/>
                      <a:gd name="connsiteX2" fmla="*/ 412749 w 412847"/>
                      <a:gd name="connsiteY2" fmla="*/ 250825 h 332600"/>
                      <a:gd name="connsiteX3" fmla="*/ 325437 w 412847"/>
                      <a:gd name="connsiteY3" fmla="*/ 332582 h 332600"/>
                      <a:gd name="connsiteX0" fmla="*/ 0 w 413012"/>
                      <a:gd name="connsiteY0" fmla="*/ 0 h 332600"/>
                      <a:gd name="connsiteX1" fmla="*/ 243681 w 413012"/>
                      <a:gd name="connsiteY1" fmla="*/ 116682 h 332600"/>
                      <a:gd name="connsiteX2" fmla="*/ 412749 w 413012"/>
                      <a:gd name="connsiteY2" fmla="*/ 250825 h 332600"/>
                      <a:gd name="connsiteX3" fmla="*/ 325437 w 413012"/>
                      <a:gd name="connsiteY3" fmla="*/ 332582 h 332600"/>
                      <a:gd name="connsiteX0" fmla="*/ 0 w 413012"/>
                      <a:gd name="connsiteY0" fmla="*/ 0 h 332600"/>
                      <a:gd name="connsiteX1" fmla="*/ 243681 w 413012"/>
                      <a:gd name="connsiteY1" fmla="*/ 116682 h 332600"/>
                      <a:gd name="connsiteX2" fmla="*/ 412749 w 413012"/>
                      <a:gd name="connsiteY2" fmla="*/ 250825 h 332600"/>
                      <a:gd name="connsiteX3" fmla="*/ 325437 w 413012"/>
                      <a:gd name="connsiteY3" fmla="*/ 332582 h 332600"/>
                      <a:gd name="connsiteX0" fmla="*/ 0 w 412904"/>
                      <a:gd name="connsiteY0" fmla="*/ 0 h 332600"/>
                      <a:gd name="connsiteX1" fmla="*/ 243681 w 412904"/>
                      <a:gd name="connsiteY1" fmla="*/ 116682 h 332600"/>
                      <a:gd name="connsiteX2" fmla="*/ 412749 w 412904"/>
                      <a:gd name="connsiteY2" fmla="*/ 250825 h 332600"/>
                      <a:gd name="connsiteX3" fmla="*/ 325437 w 412904"/>
                      <a:gd name="connsiteY3" fmla="*/ 332582 h 332600"/>
                    </a:gdLst>
                    <a:ahLst/>
                    <a:cxnLst>
                      <a:cxn ang="0">
                        <a:pos x="connsiteX0" y="connsiteY0"/>
                      </a:cxn>
                      <a:cxn ang="0">
                        <a:pos x="connsiteX1" y="connsiteY1"/>
                      </a:cxn>
                      <a:cxn ang="0">
                        <a:pos x="connsiteX2" y="connsiteY2"/>
                      </a:cxn>
                      <a:cxn ang="0">
                        <a:pos x="connsiteX3" y="connsiteY3"/>
                      </a:cxn>
                    </a:cxnLst>
                    <a:rect l="l" t="t" r="r" b="b"/>
                    <a:pathLst>
                      <a:path w="412904" h="332600">
                        <a:moveTo>
                          <a:pt x="0" y="0"/>
                        </a:moveTo>
                        <a:cubicBezTo>
                          <a:pt x="70076" y="59152"/>
                          <a:pt x="167454" y="90812"/>
                          <a:pt x="243681" y="116682"/>
                        </a:cubicBezTo>
                        <a:cubicBezTo>
                          <a:pt x="345810" y="151343"/>
                          <a:pt x="411029" y="207699"/>
                          <a:pt x="412749" y="250825"/>
                        </a:cubicBezTo>
                        <a:cubicBezTo>
                          <a:pt x="414282" y="289272"/>
                          <a:pt x="405870" y="333640"/>
                          <a:pt x="325437" y="332582"/>
                        </a:cubicBezTo>
                      </a:path>
                    </a:pathLst>
                  </a:custGeom>
                  <a:noFill/>
                  <a:ln w="12700" cap="rnd">
                    <a:solidFill>
                      <a:schemeClr val="bg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57756"/>
                    <a:endParaRPr lang="en-US" sz="700">
                      <a:solidFill>
                        <a:srgbClr val="2E2E2E"/>
                      </a:solidFill>
                      <a:cs typeface="Arial" pitchFamily="34" charset="0"/>
                    </a:endParaRPr>
                  </a:p>
                </p:txBody>
              </p:sp>
              <p:sp>
                <p:nvSpPr>
                  <p:cNvPr id="75" name="Freeform 168"/>
                  <p:cNvSpPr>
                    <a:spLocks/>
                  </p:cNvSpPr>
                  <p:nvPr/>
                </p:nvSpPr>
                <p:spPr bwMode="auto">
                  <a:xfrm>
                    <a:off x="3728623" y="2414224"/>
                    <a:ext cx="645674" cy="1154879"/>
                  </a:xfrm>
                  <a:custGeom>
                    <a:avLst/>
                    <a:gdLst>
                      <a:gd name="connsiteX0" fmla="*/ 3981 w 9843"/>
                      <a:gd name="connsiteY0" fmla="*/ 5686 h 10000"/>
                      <a:gd name="connsiteX1" fmla="*/ 5877 w 9843"/>
                      <a:gd name="connsiteY1" fmla="*/ 6569 h 10000"/>
                      <a:gd name="connsiteX2" fmla="*/ 4326 w 9843"/>
                      <a:gd name="connsiteY2" fmla="*/ 7059 h 10000"/>
                      <a:gd name="connsiteX3" fmla="*/ 1222 w 9843"/>
                      <a:gd name="connsiteY3" fmla="*/ 6667 h 10000"/>
                      <a:gd name="connsiteX4" fmla="*/ 1050 w 9843"/>
                      <a:gd name="connsiteY4" fmla="*/ 6667 h 10000"/>
                      <a:gd name="connsiteX5" fmla="*/ 533 w 9843"/>
                      <a:gd name="connsiteY5" fmla="*/ 6863 h 10000"/>
                      <a:gd name="connsiteX6" fmla="*/ 15 w 9843"/>
                      <a:gd name="connsiteY6" fmla="*/ 8039 h 10000"/>
                      <a:gd name="connsiteX7" fmla="*/ 360 w 9843"/>
                      <a:gd name="connsiteY7" fmla="*/ 8431 h 10000"/>
                      <a:gd name="connsiteX8" fmla="*/ 3464 w 9843"/>
                      <a:gd name="connsiteY8" fmla="*/ 8824 h 10000"/>
                      <a:gd name="connsiteX9" fmla="*/ 3636 w 9843"/>
                      <a:gd name="connsiteY9" fmla="*/ 9706 h 10000"/>
                      <a:gd name="connsiteX10" fmla="*/ 4153 w 9843"/>
                      <a:gd name="connsiteY10" fmla="*/ 10000 h 10000"/>
                      <a:gd name="connsiteX11" fmla="*/ 5705 w 9843"/>
                      <a:gd name="connsiteY11" fmla="*/ 9902 h 10000"/>
                      <a:gd name="connsiteX12" fmla="*/ 6222 w 9843"/>
                      <a:gd name="connsiteY12" fmla="*/ 9608 h 10000"/>
                      <a:gd name="connsiteX13" fmla="*/ 6222 w 9843"/>
                      <a:gd name="connsiteY13" fmla="*/ 8725 h 10000"/>
                      <a:gd name="connsiteX14" fmla="*/ 9843 w 9843"/>
                      <a:gd name="connsiteY14" fmla="*/ 6275 h 10000"/>
                      <a:gd name="connsiteX15" fmla="*/ 6050 w 9843"/>
                      <a:gd name="connsiteY15" fmla="*/ 3922 h 10000"/>
                      <a:gd name="connsiteX16" fmla="*/ 3809 w 9843"/>
                      <a:gd name="connsiteY16" fmla="*/ 3235 h 10000"/>
                      <a:gd name="connsiteX17" fmla="*/ 5188 w 9843"/>
                      <a:gd name="connsiteY17" fmla="*/ 2745 h 10000"/>
                      <a:gd name="connsiteX18" fmla="*/ 7774 w 9843"/>
                      <a:gd name="connsiteY18" fmla="*/ 3039 h 10000"/>
                      <a:gd name="connsiteX19" fmla="*/ 8119 w 9843"/>
                      <a:gd name="connsiteY19" fmla="*/ 3039 h 10000"/>
                      <a:gd name="connsiteX20" fmla="*/ 8636 w 9843"/>
                      <a:gd name="connsiteY20" fmla="*/ 2843 h 10000"/>
                      <a:gd name="connsiteX21" fmla="*/ 8981 w 9843"/>
                      <a:gd name="connsiteY21" fmla="*/ 1667 h 10000"/>
                      <a:gd name="connsiteX22" fmla="*/ 8636 w 9843"/>
                      <a:gd name="connsiteY22" fmla="*/ 1275 h 10000"/>
                      <a:gd name="connsiteX23" fmla="*/ 6050 w 9843"/>
                      <a:gd name="connsiteY23" fmla="*/ 980 h 10000"/>
                      <a:gd name="connsiteX24" fmla="*/ 6050 w 9843"/>
                      <a:gd name="connsiteY24" fmla="*/ 294 h 10000"/>
                      <a:gd name="connsiteX25" fmla="*/ 5533 w 9843"/>
                      <a:gd name="connsiteY25" fmla="*/ 0 h 10000"/>
                      <a:gd name="connsiteX26" fmla="*/ 5533 w 9843"/>
                      <a:gd name="connsiteY26" fmla="*/ 0 h 10000"/>
                      <a:gd name="connsiteX27" fmla="*/ 3809 w 9843"/>
                      <a:gd name="connsiteY27" fmla="*/ 0 h 10000"/>
                      <a:gd name="connsiteX28" fmla="*/ 3291 w 9843"/>
                      <a:gd name="connsiteY28" fmla="*/ 294 h 10000"/>
                      <a:gd name="connsiteX29" fmla="*/ 3291 w 9843"/>
                      <a:gd name="connsiteY29" fmla="*/ 1176 h 10000"/>
                      <a:gd name="connsiteX30" fmla="*/ 15 w 9843"/>
                      <a:gd name="connsiteY30" fmla="*/ 3431 h 10000"/>
                      <a:gd name="connsiteX31" fmla="*/ 3981 w 9843"/>
                      <a:gd name="connsiteY31"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 name="connsiteX0" fmla="*/ 4044 w 10000"/>
                      <a:gd name="connsiteY0" fmla="*/ 5686 h 10000"/>
                      <a:gd name="connsiteX1" fmla="*/ 5971 w 10000"/>
                      <a:gd name="connsiteY1" fmla="*/ 6569 h 10000"/>
                      <a:gd name="connsiteX2" fmla="*/ 4395 w 10000"/>
                      <a:gd name="connsiteY2" fmla="*/ 7059 h 10000"/>
                      <a:gd name="connsiteX3" fmla="*/ 1241 w 10000"/>
                      <a:gd name="connsiteY3" fmla="*/ 6667 h 10000"/>
                      <a:gd name="connsiteX4" fmla="*/ 1067 w 10000"/>
                      <a:gd name="connsiteY4" fmla="*/ 6667 h 10000"/>
                      <a:gd name="connsiteX5" fmla="*/ 542 w 10000"/>
                      <a:gd name="connsiteY5" fmla="*/ 6863 h 10000"/>
                      <a:gd name="connsiteX6" fmla="*/ 15 w 10000"/>
                      <a:gd name="connsiteY6" fmla="*/ 8039 h 10000"/>
                      <a:gd name="connsiteX7" fmla="*/ 366 w 10000"/>
                      <a:gd name="connsiteY7" fmla="*/ 8431 h 10000"/>
                      <a:gd name="connsiteX8" fmla="*/ 3519 w 10000"/>
                      <a:gd name="connsiteY8" fmla="*/ 8824 h 10000"/>
                      <a:gd name="connsiteX9" fmla="*/ 3694 w 10000"/>
                      <a:gd name="connsiteY9" fmla="*/ 9706 h 10000"/>
                      <a:gd name="connsiteX10" fmla="*/ 4219 w 10000"/>
                      <a:gd name="connsiteY10" fmla="*/ 10000 h 10000"/>
                      <a:gd name="connsiteX11" fmla="*/ 5796 w 10000"/>
                      <a:gd name="connsiteY11" fmla="*/ 9902 h 10000"/>
                      <a:gd name="connsiteX12" fmla="*/ 6321 w 10000"/>
                      <a:gd name="connsiteY12" fmla="*/ 9608 h 10000"/>
                      <a:gd name="connsiteX13" fmla="*/ 6321 w 10000"/>
                      <a:gd name="connsiteY13" fmla="*/ 8725 h 10000"/>
                      <a:gd name="connsiteX14" fmla="*/ 10000 w 10000"/>
                      <a:gd name="connsiteY14" fmla="*/ 6275 h 10000"/>
                      <a:gd name="connsiteX15" fmla="*/ 6147 w 10000"/>
                      <a:gd name="connsiteY15" fmla="*/ 3922 h 10000"/>
                      <a:gd name="connsiteX16" fmla="*/ 3870 w 10000"/>
                      <a:gd name="connsiteY16" fmla="*/ 3235 h 10000"/>
                      <a:gd name="connsiteX17" fmla="*/ 5271 w 10000"/>
                      <a:gd name="connsiteY17" fmla="*/ 2745 h 10000"/>
                      <a:gd name="connsiteX18" fmla="*/ 7898 w 10000"/>
                      <a:gd name="connsiteY18" fmla="*/ 3039 h 10000"/>
                      <a:gd name="connsiteX19" fmla="*/ 8774 w 10000"/>
                      <a:gd name="connsiteY19" fmla="*/ 2843 h 10000"/>
                      <a:gd name="connsiteX20" fmla="*/ 9124 w 10000"/>
                      <a:gd name="connsiteY20" fmla="*/ 1667 h 10000"/>
                      <a:gd name="connsiteX21" fmla="*/ 8774 w 10000"/>
                      <a:gd name="connsiteY21" fmla="*/ 1275 h 10000"/>
                      <a:gd name="connsiteX22" fmla="*/ 6147 w 10000"/>
                      <a:gd name="connsiteY22" fmla="*/ 980 h 10000"/>
                      <a:gd name="connsiteX23" fmla="*/ 6147 w 10000"/>
                      <a:gd name="connsiteY23" fmla="*/ 294 h 10000"/>
                      <a:gd name="connsiteX24" fmla="*/ 5621 w 10000"/>
                      <a:gd name="connsiteY24" fmla="*/ 0 h 10000"/>
                      <a:gd name="connsiteX25" fmla="*/ 5621 w 10000"/>
                      <a:gd name="connsiteY25" fmla="*/ 0 h 10000"/>
                      <a:gd name="connsiteX26" fmla="*/ 3870 w 10000"/>
                      <a:gd name="connsiteY26" fmla="*/ 0 h 10000"/>
                      <a:gd name="connsiteX27" fmla="*/ 3343 w 10000"/>
                      <a:gd name="connsiteY27" fmla="*/ 294 h 10000"/>
                      <a:gd name="connsiteX28" fmla="*/ 3343 w 10000"/>
                      <a:gd name="connsiteY28" fmla="*/ 1176 h 10000"/>
                      <a:gd name="connsiteX29" fmla="*/ 15 w 10000"/>
                      <a:gd name="connsiteY29" fmla="*/ 3431 h 10000"/>
                      <a:gd name="connsiteX30" fmla="*/ 4044 w 10000"/>
                      <a:gd name="connsiteY30" fmla="*/ 568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4044" y="5686"/>
                        </a:moveTo>
                        <a:cubicBezTo>
                          <a:pt x="5621" y="5980"/>
                          <a:pt x="5962" y="6260"/>
                          <a:pt x="5971" y="6569"/>
                        </a:cubicBezTo>
                        <a:cubicBezTo>
                          <a:pt x="5984" y="6999"/>
                          <a:pt x="5271" y="7059"/>
                          <a:pt x="4395" y="7059"/>
                        </a:cubicBezTo>
                        <a:cubicBezTo>
                          <a:pt x="3169" y="7059"/>
                          <a:pt x="1942" y="6863"/>
                          <a:pt x="1241" y="6667"/>
                        </a:cubicBezTo>
                        <a:lnTo>
                          <a:pt x="1067" y="6667"/>
                        </a:lnTo>
                        <a:cubicBezTo>
                          <a:pt x="891" y="6667"/>
                          <a:pt x="542" y="6765"/>
                          <a:pt x="542" y="6863"/>
                        </a:cubicBezTo>
                        <a:lnTo>
                          <a:pt x="15" y="8039"/>
                        </a:lnTo>
                        <a:cubicBezTo>
                          <a:pt x="15" y="8235"/>
                          <a:pt x="191" y="8333"/>
                          <a:pt x="366" y="8431"/>
                        </a:cubicBezTo>
                        <a:cubicBezTo>
                          <a:pt x="1241" y="8627"/>
                          <a:pt x="2468" y="8824"/>
                          <a:pt x="3519" y="8824"/>
                        </a:cubicBezTo>
                        <a:cubicBezTo>
                          <a:pt x="3577" y="9118"/>
                          <a:pt x="3636" y="9412"/>
                          <a:pt x="3694" y="9706"/>
                        </a:cubicBezTo>
                        <a:cubicBezTo>
                          <a:pt x="3694" y="9804"/>
                          <a:pt x="3870" y="10000"/>
                          <a:pt x="4219" y="10000"/>
                        </a:cubicBezTo>
                        <a:lnTo>
                          <a:pt x="5796" y="9902"/>
                        </a:lnTo>
                        <a:cubicBezTo>
                          <a:pt x="6147" y="9902"/>
                          <a:pt x="6350" y="9886"/>
                          <a:pt x="6321" y="9608"/>
                        </a:cubicBezTo>
                        <a:lnTo>
                          <a:pt x="6321" y="8725"/>
                        </a:lnTo>
                        <a:cubicBezTo>
                          <a:pt x="8599" y="8431"/>
                          <a:pt x="10000" y="7451"/>
                          <a:pt x="10000" y="6275"/>
                        </a:cubicBezTo>
                        <a:cubicBezTo>
                          <a:pt x="10000" y="5196"/>
                          <a:pt x="8774" y="4412"/>
                          <a:pt x="6147" y="3922"/>
                        </a:cubicBezTo>
                        <a:cubicBezTo>
                          <a:pt x="4570" y="3627"/>
                          <a:pt x="3870" y="3431"/>
                          <a:pt x="3870" y="3235"/>
                        </a:cubicBezTo>
                        <a:cubicBezTo>
                          <a:pt x="3870" y="2745"/>
                          <a:pt x="4600" y="2778"/>
                          <a:pt x="5271" y="2745"/>
                        </a:cubicBezTo>
                        <a:cubicBezTo>
                          <a:pt x="5942" y="2712"/>
                          <a:pt x="7379" y="2843"/>
                          <a:pt x="7898" y="3039"/>
                        </a:cubicBezTo>
                        <a:cubicBezTo>
                          <a:pt x="8173" y="3143"/>
                          <a:pt x="8666" y="2970"/>
                          <a:pt x="8774" y="2843"/>
                        </a:cubicBezTo>
                        <a:cubicBezTo>
                          <a:pt x="8891" y="2451"/>
                          <a:pt x="9060" y="1786"/>
                          <a:pt x="9124" y="1667"/>
                        </a:cubicBezTo>
                        <a:cubicBezTo>
                          <a:pt x="9188" y="1548"/>
                          <a:pt x="9124" y="1373"/>
                          <a:pt x="8774" y="1275"/>
                        </a:cubicBezTo>
                        <a:cubicBezTo>
                          <a:pt x="8073" y="1078"/>
                          <a:pt x="7197" y="980"/>
                          <a:pt x="6147" y="980"/>
                        </a:cubicBezTo>
                        <a:lnTo>
                          <a:pt x="6147" y="294"/>
                        </a:lnTo>
                        <a:cubicBezTo>
                          <a:pt x="6147" y="98"/>
                          <a:pt x="5796" y="0"/>
                          <a:pt x="5621" y="0"/>
                        </a:cubicBezTo>
                        <a:lnTo>
                          <a:pt x="5621" y="0"/>
                        </a:lnTo>
                        <a:lnTo>
                          <a:pt x="3870" y="0"/>
                        </a:lnTo>
                        <a:cubicBezTo>
                          <a:pt x="3519" y="0"/>
                          <a:pt x="3343" y="98"/>
                          <a:pt x="3343" y="294"/>
                        </a:cubicBezTo>
                        <a:lnTo>
                          <a:pt x="3343" y="1176"/>
                        </a:lnTo>
                        <a:cubicBezTo>
                          <a:pt x="1241" y="1471"/>
                          <a:pt x="-160" y="2353"/>
                          <a:pt x="15" y="3431"/>
                        </a:cubicBezTo>
                        <a:cubicBezTo>
                          <a:pt x="15" y="4804"/>
                          <a:pt x="2117" y="5392"/>
                          <a:pt x="4044" y="5686"/>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76" name="Freeform 168"/>
                  <p:cNvSpPr>
                    <a:spLocks noChangeAspect="1"/>
                  </p:cNvSpPr>
                  <p:nvPr/>
                </p:nvSpPr>
                <p:spPr bwMode="auto">
                  <a:xfrm>
                    <a:off x="4026458" y="1990327"/>
                    <a:ext cx="841680" cy="1578776"/>
                  </a:xfrm>
                  <a:custGeom>
                    <a:avLst/>
                    <a:gdLst>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4314 w 10176"/>
                      <a:gd name="connsiteY32"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4314 w 10176"/>
                      <a:gd name="connsiteY32"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4314 w 10176"/>
                      <a:gd name="connsiteY32"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1421 w 10176"/>
                      <a:gd name="connsiteY32" fmla="*/ 4867 h 10000"/>
                      <a:gd name="connsiteX33" fmla="*/ 4314 w 10176"/>
                      <a:gd name="connsiteY33"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1421 w 10176"/>
                      <a:gd name="connsiteY32" fmla="*/ 4867 h 10000"/>
                      <a:gd name="connsiteX33" fmla="*/ 4314 w 10176"/>
                      <a:gd name="connsiteY33" fmla="*/ 5686 h 10000"/>
                      <a:gd name="connsiteX0" fmla="*/ 4314 w 10176"/>
                      <a:gd name="connsiteY0" fmla="*/ 5686 h 10000"/>
                      <a:gd name="connsiteX1" fmla="*/ 6210 w 10176"/>
                      <a:gd name="connsiteY1" fmla="*/ 6569 h 10000"/>
                      <a:gd name="connsiteX2" fmla="*/ 4659 w 10176"/>
                      <a:gd name="connsiteY2" fmla="*/ 7059 h 10000"/>
                      <a:gd name="connsiteX3" fmla="*/ 1555 w 10176"/>
                      <a:gd name="connsiteY3" fmla="*/ 6667 h 10000"/>
                      <a:gd name="connsiteX4" fmla="*/ 1383 w 10176"/>
                      <a:gd name="connsiteY4" fmla="*/ 6667 h 10000"/>
                      <a:gd name="connsiteX5" fmla="*/ 866 w 10176"/>
                      <a:gd name="connsiteY5" fmla="*/ 6863 h 10000"/>
                      <a:gd name="connsiteX6" fmla="*/ 348 w 10176"/>
                      <a:gd name="connsiteY6" fmla="*/ 8039 h 10000"/>
                      <a:gd name="connsiteX7" fmla="*/ 693 w 10176"/>
                      <a:gd name="connsiteY7" fmla="*/ 8431 h 10000"/>
                      <a:gd name="connsiteX8" fmla="*/ 3797 w 10176"/>
                      <a:gd name="connsiteY8" fmla="*/ 8824 h 10000"/>
                      <a:gd name="connsiteX9" fmla="*/ 3969 w 10176"/>
                      <a:gd name="connsiteY9" fmla="*/ 9706 h 10000"/>
                      <a:gd name="connsiteX10" fmla="*/ 4486 w 10176"/>
                      <a:gd name="connsiteY10" fmla="*/ 10000 h 10000"/>
                      <a:gd name="connsiteX11" fmla="*/ 6038 w 10176"/>
                      <a:gd name="connsiteY11" fmla="*/ 9902 h 10000"/>
                      <a:gd name="connsiteX12" fmla="*/ 6555 w 10176"/>
                      <a:gd name="connsiteY12" fmla="*/ 9608 h 10000"/>
                      <a:gd name="connsiteX13" fmla="*/ 6555 w 10176"/>
                      <a:gd name="connsiteY13" fmla="*/ 8725 h 10000"/>
                      <a:gd name="connsiteX14" fmla="*/ 10176 w 10176"/>
                      <a:gd name="connsiteY14" fmla="*/ 6275 h 10000"/>
                      <a:gd name="connsiteX15" fmla="*/ 6383 w 10176"/>
                      <a:gd name="connsiteY15" fmla="*/ 3922 h 10000"/>
                      <a:gd name="connsiteX16" fmla="*/ 4142 w 10176"/>
                      <a:gd name="connsiteY16" fmla="*/ 3235 h 10000"/>
                      <a:gd name="connsiteX17" fmla="*/ 5521 w 10176"/>
                      <a:gd name="connsiteY17" fmla="*/ 2745 h 10000"/>
                      <a:gd name="connsiteX18" fmla="*/ 8107 w 10176"/>
                      <a:gd name="connsiteY18" fmla="*/ 3039 h 10000"/>
                      <a:gd name="connsiteX19" fmla="*/ 8452 w 10176"/>
                      <a:gd name="connsiteY19" fmla="*/ 3039 h 10000"/>
                      <a:gd name="connsiteX20" fmla="*/ 8969 w 10176"/>
                      <a:gd name="connsiteY20" fmla="*/ 2843 h 10000"/>
                      <a:gd name="connsiteX21" fmla="*/ 9314 w 10176"/>
                      <a:gd name="connsiteY21" fmla="*/ 1667 h 10000"/>
                      <a:gd name="connsiteX22" fmla="*/ 8969 w 10176"/>
                      <a:gd name="connsiteY22" fmla="*/ 1275 h 10000"/>
                      <a:gd name="connsiteX23" fmla="*/ 6383 w 10176"/>
                      <a:gd name="connsiteY23" fmla="*/ 980 h 10000"/>
                      <a:gd name="connsiteX24" fmla="*/ 6383 w 10176"/>
                      <a:gd name="connsiteY24" fmla="*/ 294 h 10000"/>
                      <a:gd name="connsiteX25" fmla="*/ 5866 w 10176"/>
                      <a:gd name="connsiteY25" fmla="*/ 0 h 10000"/>
                      <a:gd name="connsiteX26" fmla="*/ 5866 w 10176"/>
                      <a:gd name="connsiteY26" fmla="*/ 0 h 10000"/>
                      <a:gd name="connsiteX27" fmla="*/ 4142 w 10176"/>
                      <a:gd name="connsiteY27" fmla="*/ 0 h 10000"/>
                      <a:gd name="connsiteX28" fmla="*/ 3624 w 10176"/>
                      <a:gd name="connsiteY28" fmla="*/ 294 h 10000"/>
                      <a:gd name="connsiteX29" fmla="*/ 3624 w 10176"/>
                      <a:gd name="connsiteY29" fmla="*/ 1176 h 10000"/>
                      <a:gd name="connsiteX30" fmla="*/ 571 w 10176"/>
                      <a:gd name="connsiteY30" fmla="*/ 2534 h 10000"/>
                      <a:gd name="connsiteX31" fmla="*/ 348 w 10176"/>
                      <a:gd name="connsiteY31" fmla="*/ 3431 h 10000"/>
                      <a:gd name="connsiteX32" fmla="*/ 1421 w 10176"/>
                      <a:gd name="connsiteY32" fmla="*/ 4867 h 10000"/>
                      <a:gd name="connsiteX33" fmla="*/ 4314 w 10176"/>
                      <a:gd name="connsiteY33" fmla="*/ 5686 h 10000"/>
                      <a:gd name="connsiteX0" fmla="*/ 211 w 10039"/>
                      <a:gd name="connsiteY0" fmla="*/ 3431 h 10000"/>
                      <a:gd name="connsiteX1" fmla="*/ 1284 w 10039"/>
                      <a:gd name="connsiteY1" fmla="*/ 4867 h 10000"/>
                      <a:gd name="connsiteX2" fmla="*/ 4177 w 10039"/>
                      <a:gd name="connsiteY2" fmla="*/ 5686 h 10000"/>
                      <a:gd name="connsiteX3" fmla="*/ 6073 w 10039"/>
                      <a:gd name="connsiteY3" fmla="*/ 6569 h 10000"/>
                      <a:gd name="connsiteX4" fmla="*/ 4522 w 10039"/>
                      <a:gd name="connsiteY4" fmla="*/ 7059 h 10000"/>
                      <a:gd name="connsiteX5" fmla="*/ 1418 w 10039"/>
                      <a:gd name="connsiteY5" fmla="*/ 6667 h 10000"/>
                      <a:gd name="connsiteX6" fmla="*/ 1246 w 10039"/>
                      <a:gd name="connsiteY6" fmla="*/ 6667 h 10000"/>
                      <a:gd name="connsiteX7" fmla="*/ 729 w 10039"/>
                      <a:gd name="connsiteY7" fmla="*/ 6863 h 10000"/>
                      <a:gd name="connsiteX8" fmla="*/ 211 w 10039"/>
                      <a:gd name="connsiteY8" fmla="*/ 8039 h 10000"/>
                      <a:gd name="connsiteX9" fmla="*/ 556 w 10039"/>
                      <a:gd name="connsiteY9" fmla="*/ 8431 h 10000"/>
                      <a:gd name="connsiteX10" fmla="*/ 3660 w 10039"/>
                      <a:gd name="connsiteY10" fmla="*/ 8824 h 10000"/>
                      <a:gd name="connsiteX11" fmla="*/ 3832 w 10039"/>
                      <a:gd name="connsiteY11" fmla="*/ 9706 h 10000"/>
                      <a:gd name="connsiteX12" fmla="*/ 4349 w 10039"/>
                      <a:gd name="connsiteY12" fmla="*/ 10000 h 10000"/>
                      <a:gd name="connsiteX13" fmla="*/ 5901 w 10039"/>
                      <a:gd name="connsiteY13" fmla="*/ 9902 h 10000"/>
                      <a:gd name="connsiteX14" fmla="*/ 6418 w 10039"/>
                      <a:gd name="connsiteY14" fmla="*/ 9608 h 10000"/>
                      <a:gd name="connsiteX15" fmla="*/ 6418 w 10039"/>
                      <a:gd name="connsiteY15" fmla="*/ 8725 h 10000"/>
                      <a:gd name="connsiteX16" fmla="*/ 10039 w 10039"/>
                      <a:gd name="connsiteY16" fmla="*/ 6275 h 10000"/>
                      <a:gd name="connsiteX17" fmla="*/ 6246 w 10039"/>
                      <a:gd name="connsiteY17" fmla="*/ 3922 h 10000"/>
                      <a:gd name="connsiteX18" fmla="*/ 4005 w 10039"/>
                      <a:gd name="connsiteY18" fmla="*/ 3235 h 10000"/>
                      <a:gd name="connsiteX19" fmla="*/ 5384 w 10039"/>
                      <a:gd name="connsiteY19" fmla="*/ 2745 h 10000"/>
                      <a:gd name="connsiteX20" fmla="*/ 7970 w 10039"/>
                      <a:gd name="connsiteY20" fmla="*/ 3039 h 10000"/>
                      <a:gd name="connsiteX21" fmla="*/ 8315 w 10039"/>
                      <a:gd name="connsiteY21" fmla="*/ 3039 h 10000"/>
                      <a:gd name="connsiteX22" fmla="*/ 8832 w 10039"/>
                      <a:gd name="connsiteY22" fmla="*/ 2843 h 10000"/>
                      <a:gd name="connsiteX23" fmla="*/ 9177 w 10039"/>
                      <a:gd name="connsiteY23" fmla="*/ 1667 h 10000"/>
                      <a:gd name="connsiteX24" fmla="*/ 8832 w 10039"/>
                      <a:gd name="connsiteY24" fmla="*/ 1275 h 10000"/>
                      <a:gd name="connsiteX25" fmla="*/ 6246 w 10039"/>
                      <a:gd name="connsiteY25" fmla="*/ 980 h 10000"/>
                      <a:gd name="connsiteX26" fmla="*/ 6246 w 10039"/>
                      <a:gd name="connsiteY26" fmla="*/ 294 h 10000"/>
                      <a:gd name="connsiteX27" fmla="*/ 5729 w 10039"/>
                      <a:gd name="connsiteY27" fmla="*/ 0 h 10000"/>
                      <a:gd name="connsiteX28" fmla="*/ 5729 w 10039"/>
                      <a:gd name="connsiteY28" fmla="*/ 0 h 10000"/>
                      <a:gd name="connsiteX29" fmla="*/ 4005 w 10039"/>
                      <a:gd name="connsiteY29" fmla="*/ 0 h 10000"/>
                      <a:gd name="connsiteX30" fmla="*/ 3487 w 10039"/>
                      <a:gd name="connsiteY30" fmla="*/ 294 h 10000"/>
                      <a:gd name="connsiteX31" fmla="*/ 3487 w 10039"/>
                      <a:gd name="connsiteY31" fmla="*/ 1176 h 10000"/>
                      <a:gd name="connsiteX32" fmla="*/ 434 w 10039"/>
                      <a:gd name="connsiteY32" fmla="*/ 2534 h 10000"/>
                      <a:gd name="connsiteX33" fmla="*/ 1231 w 10039"/>
                      <a:gd name="connsiteY33" fmla="*/ 4010 h 10000"/>
                      <a:gd name="connsiteX0" fmla="*/ 0 w 9828"/>
                      <a:gd name="connsiteY0" fmla="*/ 3431 h 10000"/>
                      <a:gd name="connsiteX1" fmla="*/ 1073 w 9828"/>
                      <a:gd name="connsiteY1" fmla="*/ 4867 h 10000"/>
                      <a:gd name="connsiteX2" fmla="*/ 3966 w 9828"/>
                      <a:gd name="connsiteY2" fmla="*/ 5686 h 10000"/>
                      <a:gd name="connsiteX3" fmla="*/ 5862 w 9828"/>
                      <a:gd name="connsiteY3" fmla="*/ 6569 h 10000"/>
                      <a:gd name="connsiteX4" fmla="*/ 4311 w 9828"/>
                      <a:gd name="connsiteY4" fmla="*/ 7059 h 10000"/>
                      <a:gd name="connsiteX5" fmla="*/ 1207 w 9828"/>
                      <a:gd name="connsiteY5" fmla="*/ 6667 h 10000"/>
                      <a:gd name="connsiteX6" fmla="*/ 1035 w 9828"/>
                      <a:gd name="connsiteY6" fmla="*/ 6667 h 10000"/>
                      <a:gd name="connsiteX7" fmla="*/ 518 w 9828"/>
                      <a:gd name="connsiteY7" fmla="*/ 6863 h 10000"/>
                      <a:gd name="connsiteX8" fmla="*/ 0 w 9828"/>
                      <a:gd name="connsiteY8" fmla="*/ 8039 h 10000"/>
                      <a:gd name="connsiteX9" fmla="*/ 345 w 9828"/>
                      <a:gd name="connsiteY9" fmla="*/ 8431 h 10000"/>
                      <a:gd name="connsiteX10" fmla="*/ 3449 w 9828"/>
                      <a:gd name="connsiteY10" fmla="*/ 8824 h 10000"/>
                      <a:gd name="connsiteX11" fmla="*/ 3621 w 9828"/>
                      <a:gd name="connsiteY11" fmla="*/ 9706 h 10000"/>
                      <a:gd name="connsiteX12" fmla="*/ 4138 w 9828"/>
                      <a:gd name="connsiteY12" fmla="*/ 10000 h 10000"/>
                      <a:gd name="connsiteX13" fmla="*/ 5690 w 9828"/>
                      <a:gd name="connsiteY13" fmla="*/ 9902 h 10000"/>
                      <a:gd name="connsiteX14" fmla="*/ 6207 w 9828"/>
                      <a:gd name="connsiteY14" fmla="*/ 9608 h 10000"/>
                      <a:gd name="connsiteX15" fmla="*/ 6207 w 9828"/>
                      <a:gd name="connsiteY15" fmla="*/ 8725 h 10000"/>
                      <a:gd name="connsiteX16" fmla="*/ 9828 w 9828"/>
                      <a:gd name="connsiteY16" fmla="*/ 6275 h 10000"/>
                      <a:gd name="connsiteX17" fmla="*/ 6035 w 9828"/>
                      <a:gd name="connsiteY17" fmla="*/ 3922 h 10000"/>
                      <a:gd name="connsiteX18" fmla="*/ 3794 w 9828"/>
                      <a:gd name="connsiteY18" fmla="*/ 3235 h 10000"/>
                      <a:gd name="connsiteX19" fmla="*/ 5173 w 9828"/>
                      <a:gd name="connsiteY19" fmla="*/ 2745 h 10000"/>
                      <a:gd name="connsiteX20" fmla="*/ 7759 w 9828"/>
                      <a:gd name="connsiteY20" fmla="*/ 3039 h 10000"/>
                      <a:gd name="connsiteX21" fmla="*/ 8104 w 9828"/>
                      <a:gd name="connsiteY21" fmla="*/ 3039 h 10000"/>
                      <a:gd name="connsiteX22" fmla="*/ 8621 w 9828"/>
                      <a:gd name="connsiteY22" fmla="*/ 2843 h 10000"/>
                      <a:gd name="connsiteX23" fmla="*/ 8966 w 9828"/>
                      <a:gd name="connsiteY23" fmla="*/ 1667 h 10000"/>
                      <a:gd name="connsiteX24" fmla="*/ 8621 w 9828"/>
                      <a:gd name="connsiteY24" fmla="*/ 1275 h 10000"/>
                      <a:gd name="connsiteX25" fmla="*/ 6035 w 9828"/>
                      <a:gd name="connsiteY25" fmla="*/ 980 h 10000"/>
                      <a:gd name="connsiteX26" fmla="*/ 6035 w 9828"/>
                      <a:gd name="connsiteY26" fmla="*/ 294 h 10000"/>
                      <a:gd name="connsiteX27" fmla="*/ 5518 w 9828"/>
                      <a:gd name="connsiteY27" fmla="*/ 0 h 10000"/>
                      <a:gd name="connsiteX28" fmla="*/ 5518 w 9828"/>
                      <a:gd name="connsiteY28" fmla="*/ 0 h 10000"/>
                      <a:gd name="connsiteX29" fmla="*/ 3794 w 9828"/>
                      <a:gd name="connsiteY29" fmla="*/ 0 h 10000"/>
                      <a:gd name="connsiteX30" fmla="*/ 3276 w 9828"/>
                      <a:gd name="connsiteY30" fmla="*/ 294 h 10000"/>
                      <a:gd name="connsiteX31" fmla="*/ 3276 w 9828"/>
                      <a:gd name="connsiteY31" fmla="*/ 1176 h 10000"/>
                      <a:gd name="connsiteX32" fmla="*/ 223 w 9828"/>
                      <a:gd name="connsiteY32" fmla="*/ 2534 h 10000"/>
                      <a:gd name="connsiteX0" fmla="*/ 1092 w 10000"/>
                      <a:gd name="connsiteY0" fmla="*/ 4867 h 10000"/>
                      <a:gd name="connsiteX1" fmla="*/ 4035 w 10000"/>
                      <a:gd name="connsiteY1" fmla="*/ 5686 h 10000"/>
                      <a:gd name="connsiteX2" fmla="*/ 5965 w 10000"/>
                      <a:gd name="connsiteY2" fmla="*/ 6569 h 10000"/>
                      <a:gd name="connsiteX3" fmla="*/ 4386 w 10000"/>
                      <a:gd name="connsiteY3" fmla="*/ 7059 h 10000"/>
                      <a:gd name="connsiteX4" fmla="*/ 1228 w 10000"/>
                      <a:gd name="connsiteY4" fmla="*/ 6667 h 10000"/>
                      <a:gd name="connsiteX5" fmla="*/ 1053 w 10000"/>
                      <a:gd name="connsiteY5" fmla="*/ 6667 h 10000"/>
                      <a:gd name="connsiteX6" fmla="*/ 527 w 10000"/>
                      <a:gd name="connsiteY6" fmla="*/ 6863 h 10000"/>
                      <a:gd name="connsiteX7" fmla="*/ 0 w 10000"/>
                      <a:gd name="connsiteY7" fmla="*/ 8039 h 10000"/>
                      <a:gd name="connsiteX8" fmla="*/ 351 w 10000"/>
                      <a:gd name="connsiteY8" fmla="*/ 8431 h 10000"/>
                      <a:gd name="connsiteX9" fmla="*/ 3509 w 10000"/>
                      <a:gd name="connsiteY9" fmla="*/ 8824 h 10000"/>
                      <a:gd name="connsiteX10" fmla="*/ 3684 w 10000"/>
                      <a:gd name="connsiteY10" fmla="*/ 9706 h 10000"/>
                      <a:gd name="connsiteX11" fmla="*/ 4210 w 10000"/>
                      <a:gd name="connsiteY11" fmla="*/ 10000 h 10000"/>
                      <a:gd name="connsiteX12" fmla="*/ 5790 w 10000"/>
                      <a:gd name="connsiteY12" fmla="*/ 9902 h 10000"/>
                      <a:gd name="connsiteX13" fmla="*/ 6316 w 10000"/>
                      <a:gd name="connsiteY13" fmla="*/ 9608 h 10000"/>
                      <a:gd name="connsiteX14" fmla="*/ 6316 w 10000"/>
                      <a:gd name="connsiteY14" fmla="*/ 8725 h 10000"/>
                      <a:gd name="connsiteX15" fmla="*/ 10000 w 10000"/>
                      <a:gd name="connsiteY15" fmla="*/ 6275 h 10000"/>
                      <a:gd name="connsiteX16" fmla="*/ 6141 w 10000"/>
                      <a:gd name="connsiteY16" fmla="*/ 3922 h 10000"/>
                      <a:gd name="connsiteX17" fmla="*/ 3860 w 10000"/>
                      <a:gd name="connsiteY17" fmla="*/ 3235 h 10000"/>
                      <a:gd name="connsiteX18" fmla="*/ 5264 w 10000"/>
                      <a:gd name="connsiteY18" fmla="*/ 2745 h 10000"/>
                      <a:gd name="connsiteX19" fmla="*/ 7895 w 10000"/>
                      <a:gd name="connsiteY19" fmla="*/ 3039 h 10000"/>
                      <a:gd name="connsiteX20" fmla="*/ 8246 w 10000"/>
                      <a:gd name="connsiteY20" fmla="*/ 3039 h 10000"/>
                      <a:gd name="connsiteX21" fmla="*/ 8772 w 10000"/>
                      <a:gd name="connsiteY21" fmla="*/ 2843 h 10000"/>
                      <a:gd name="connsiteX22" fmla="*/ 9123 w 10000"/>
                      <a:gd name="connsiteY22" fmla="*/ 1667 h 10000"/>
                      <a:gd name="connsiteX23" fmla="*/ 8772 w 10000"/>
                      <a:gd name="connsiteY23" fmla="*/ 1275 h 10000"/>
                      <a:gd name="connsiteX24" fmla="*/ 6141 w 10000"/>
                      <a:gd name="connsiteY24" fmla="*/ 980 h 10000"/>
                      <a:gd name="connsiteX25" fmla="*/ 6141 w 10000"/>
                      <a:gd name="connsiteY25" fmla="*/ 294 h 10000"/>
                      <a:gd name="connsiteX26" fmla="*/ 5615 w 10000"/>
                      <a:gd name="connsiteY26" fmla="*/ 0 h 10000"/>
                      <a:gd name="connsiteX27" fmla="*/ 5615 w 10000"/>
                      <a:gd name="connsiteY27" fmla="*/ 0 h 10000"/>
                      <a:gd name="connsiteX28" fmla="*/ 3860 w 10000"/>
                      <a:gd name="connsiteY28" fmla="*/ 0 h 10000"/>
                      <a:gd name="connsiteX29" fmla="*/ 3333 w 10000"/>
                      <a:gd name="connsiteY29" fmla="*/ 294 h 10000"/>
                      <a:gd name="connsiteX30" fmla="*/ 3333 w 10000"/>
                      <a:gd name="connsiteY30" fmla="*/ 1176 h 10000"/>
                      <a:gd name="connsiteX31" fmla="*/ 227 w 10000"/>
                      <a:gd name="connsiteY31" fmla="*/ 2534 h 10000"/>
                      <a:gd name="connsiteX0" fmla="*/ 1092 w 10000"/>
                      <a:gd name="connsiteY0" fmla="*/ 4867 h 10000"/>
                      <a:gd name="connsiteX1" fmla="*/ 4035 w 10000"/>
                      <a:gd name="connsiteY1" fmla="*/ 5686 h 10000"/>
                      <a:gd name="connsiteX2" fmla="*/ 5965 w 10000"/>
                      <a:gd name="connsiteY2" fmla="*/ 6569 h 10000"/>
                      <a:gd name="connsiteX3" fmla="*/ 4839 w 10000"/>
                      <a:gd name="connsiteY3" fmla="*/ 7039 h 10000"/>
                      <a:gd name="connsiteX4" fmla="*/ 4386 w 10000"/>
                      <a:gd name="connsiteY4" fmla="*/ 7059 h 10000"/>
                      <a:gd name="connsiteX5" fmla="*/ 1228 w 10000"/>
                      <a:gd name="connsiteY5" fmla="*/ 6667 h 10000"/>
                      <a:gd name="connsiteX6" fmla="*/ 1053 w 10000"/>
                      <a:gd name="connsiteY6" fmla="*/ 6667 h 10000"/>
                      <a:gd name="connsiteX7" fmla="*/ 527 w 10000"/>
                      <a:gd name="connsiteY7" fmla="*/ 6863 h 10000"/>
                      <a:gd name="connsiteX8" fmla="*/ 0 w 10000"/>
                      <a:gd name="connsiteY8" fmla="*/ 8039 h 10000"/>
                      <a:gd name="connsiteX9" fmla="*/ 351 w 10000"/>
                      <a:gd name="connsiteY9" fmla="*/ 8431 h 10000"/>
                      <a:gd name="connsiteX10" fmla="*/ 3509 w 10000"/>
                      <a:gd name="connsiteY10" fmla="*/ 8824 h 10000"/>
                      <a:gd name="connsiteX11" fmla="*/ 3684 w 10000"/>
                      <a:gd name="connsiteY11" fmla="*/ 9706 h 10000"/>
                      <a:gd name="connsiteX12" fmla="*/ 4210 w 10000"/>
                      <a:gd name="connsiteY12" fmla="*/ 10000 h 10000"/>
                      <a:gd name="connsiteX13" fmla="*/ 5790 w 10000"/>
                      <a:gd name="connsiteY13" fmla="*/ 9902 h 10000"/>
                      <a:gd name="connsiteX14" fmla="*/ 6316 w 10000"/>
                      <a:gd name="connsiteY14" fmla="*/ 9608 h 10000"/>
                      <a:gd name="connsiteX15" fmla="*/ 6316 w 10000"/>
                      <a:gd name="connsiteY15" fmla="*/ 8725 h 10000"/>
                      <a:gd name="connsiteX16" fmla="*/ 10000 w 10000"/>
                      <a:gd name="connsiteY16" fmla="*/ 6275 h 10000"/>
                      <a:gd name="connsiteX17" fmla="*/ 6141 w 10000"/>
                      <a:gd name="connsiteY17" fmla="*/ 3922 h 10000"/>
                      <a:gd name="connsiteX18" fmla="*/ 3860 w 10000"/>
                      <a:gd name="connsiteY18" fmla="*/ 3235 h 10000"/>
                      <a:gd name="connsiteX19" fmla="*/ 5264 w 10000"/>
                      <a:gd name="connsiteY19" fmla="*/ 2745 h 10000"/>
                      <a:gd name="connsiteX20" fmla="*/ 7895 w 10000"/>
                      <a:gd name="connsiteY20" fmla="*/ 3039 h 10000"/>
                      <a:gd name="connsiteX21" fmla="*/ 8246 w 10000"/>
                      <a:gd name="connsiteY21" fmla="*/ 3039 h 10000"/>
                      <a:gd name="connsiteX22" fmla="*/ 8772 w 10000"/>
                      <a:gd name="connsiteY22" fmla="*/ 2843 h 10000"/>
                      <a:gd name="connsiteX23" fmla="*/ 9123 w 10000"/>
                      <a:gd name="connsiteY23" fmla="*/ 1667 h 10000"/>
                      <a:gd name="connsiteX24" fmla="*/ 8772 w 10000"/>
                      <a:gd name="connsiteY24" fmla="*/ 1275 h 10000"/>
                      <a:gd name="connsiteX25" fmla="*/ 6141 w 10000"/>
                      <a:gd name="connsiteY25" fmla="*/ 980 h 10000"/>
                      <a:gd name="connsiteX26" fmla="*/ 6141 w 10000"/>
                      <a:gd name="connsiteY26" fmla="*/ 294 h 10000"/>
                      <a:gd name="connsiteX27" fmla="*/ 5615 w 10000"/>
                      <a:gd name="connsiteY27" fmla="*/ 0 h 10000"/>
                      <a:gd name="connsiteX28" fmla="*/ 5615 w 10000"/>
                      <a:gd name="connsiteY28" fmla="*/ 0 h 10000"/>
                      <a:gd name="connsiteX29" fmla="*/ 3860 w 10000"/>
                      <a:gd name="connsiteY29" fmla="*/ 0 h 10000"/>
                      <a:gd name="connsiteX30" fmla="*/ 3333 w 10000"/>
                      <a:gd name="connsiteY30" fmla="*/ 294 h 10000"/>
                      <a:gd name="connsiteX31" fmla="*/ 3333 w 10000"/>
                      <a:gd name="connsiteY31" fmla="*/ 1176 h 10000"/>
                      <a:gd name="connsiteX32" fmla="*/ 227 w 10000"/>
                      <a:gd name="connsiteY32" fmla="*/ 2534 h 10000"/>
                      <a:gd name="connsiteX0" fmla="*/ 1092 w 10000"/>
                      <a:gd name="connsiteY0" fmla="*/ 4867 h 10000"/>
                      <a:gd name="connsiteX1" fmla="*/ 4035 w 10000"/>
                      <a:gd name="connsiteY1" fmla="*/ 5686 h 10000"/>
                      <a:gd name="connsiteX2" fmla="*/ 5965 w 10000"/>
                      <a:gd name="connsiteY2" fmla="*/ 6569 h 10000"/>
                      <a:gd name="connsiteX3" fmla="*/ 4839 w 10000"/>
                      <a:gd name="connsiteY3" fmla="*/ 7039 h 10000"/>
                      <a:gd name="connsiteX4" fmla="*/ 4386 w 10000"/>
                      <a:gd name="connsiteY4" fmla="*/ 7059 h 10000"/>
                      <a:gd name="connsiteX5" fmla="*/ 1228 w 10000"/>
                      <a:gd name="connsiteY5" fmla="*/ 6667 h 10000"/>
                      <a:gd name="connsiteX6" fmla="*/ 1053 w 10000"/>
                      <a:gd name="connsiteY6" fmla="*/ 6667 h 10000"/>
                      <a:gd name="connsiteX7" fmla="*/ 527 w 10000"/>
                      <a:gd name="connsiteY7" fmla="*/ 6863 h 10000"/>
                      <a:gd name="connsiteX8" fmla="*/ 0 w 10000"/>
                      <a:gd name="connsiteY8" fmla="*/ 8039 h 10000"/>
                      <a:gd name="connsiteX9" fmla="*/ 351 w 10000"/>
                      <a:gd name="connsiteY9" fmla="*/ 8431 h 10000"/>
                      <a:gd name="connsiteX10" fmla="*/ 3509 w 10000"/>
                      <a:gd name="connsiteY10" fmla="*/ 8824 h 10000"/>
                      <a:gd name="connsiteX11" fmla="*/ 3684 w 10000"/>
                      <a:gd name="connsiteY11" fmla="*/ 9706 h 10000"/>
                      <a:gd name="connsiteX12" fmla="*/ 4210 w 10000"/>
                      <a:gd name="connsiteY12" fmla="*/ 10000 h 10000"/>
                      <a:gd name="connsiteX13" fmla="*/ 5790 w 10000"/>
                      <a:gd name="connsiteY13" fmla="*/ 9902 h 10000"/>
                      <a:gd name="connsiteX14" fmla="*/ 6316 w 10000"/>
                      <a:gd name="connsiteY14" fmla="*/ 9608 h 10000"/>
                      <a:gd name="connsiteX15" fmla="*/ 6316 w 10000"/>
                      <a:gd name="connsiteY15" fmla="*/ 8725 h 10000"/>
                      <a:gd name="connsiteX16" fmla="*/ 10000 w 10000"/>
                      <a:gd name="connsiteY16" fmla="*/ 6275 h 10000"/>
                      <a:gd name="connsiteX17" fmla="*/ 6141 w 10000"/>
                      <a:gd name="connsiteY17" fmla="*/ 3922 h 10000"/>
                      <a:gd name="connsiteX18" fmla="*/ 3860 w 10000"/>
                      <a:gd name="connsiteY18" fmla="*/ 3235 h 10000"/>
                      <a:gd name="connsiteX19" fmla="*/ 5264 w 10000"/>
                      <a:gd name="connsiteY19" fmla="*/ 2745 h 10000"/>
                      <a:gd name="connsiteX20" fmla="*/ 7895 w 10000"/>
                      <a:gd name="connsiteY20" fmla="*/ 3039 h 10000"/>
                      <a:gd name="connsiteX21" fmla="*/ 8246 w 10000"/>
                      <a:gd name="connsiteY21" fmla="*/ 3039 h 10000"/>
                      <a:gd name="connsiteX22" fmla="*/ 8772 w 10000"/>
                      <a:gd name="connsiteY22" fmla="*/ 2843 h 10000"/>
                      <a:gd name="connsiteX23" fmla="*/ 9123 w 10000"/>
                      <a:gd name="connsiteY23" fmla="*/ 1667 h 10000"/>
                      <a:gd name="connsiteX24" fmla="*/ 8772 w 10000"/>
                      <a:gd name="connsiteY24" fmla="*/ 1275 h 10000"/>
                      <a:gd name="connsiteX25" fmla="*/ 6141 w 10000"/>
                      <a:gd name="connsiteY25" fmla="*/ 980 h 10000"/>
                      <a:gd name="connsiteX26" fmla="*/ 6141 w 10000"/>
                      <a:gd name="connsiteY26" fmla="*/ 294 h 10000"/>
                      <a:gd name="connsiteX27" fmla="*/ 5615 w 10000"/>
                      <a:gd name="connsiteY27" fmla="*/ 0 h 10000"/>
                      <a:gd name="connsiteX28" fmla="*/ 5615 w 10000"/>
                      <a:gd name="connsiteY28" fmla="*/ 0 h 10000"/>
                      <a:gd name="connsiteX29" fmla="*/ 3860 w 10000"/>
                      <a:gd name="connsiteY29" fmla="*/ 0 h 10000"/>
                      <a:gd name="connsiteX30" fmla="*/ 3333 w 10000"/>
                      <a:gd name="connsiteY30" fmla="*/ 294 h 10000"/>
                      <a:gd name="connsiteX31" fmla="*/ 3333 w 10000"/>
                      <a:gd name="connsiteY31" fmla="*/ 1176 h 10000"/>
                      <a:gd name="connsiteX32" fmla="*/ 227 w 10000"/>
                      <a:gd name="connsiteY32" fmla="*/ 2534 h 10000"/>
                      <a:gd name="connsiteX0" fmla="*/ 1092 w 10000"/>
                      <a:gd name="connsiteY0" fmla="*/ 4867 h 10000"/>
                      <a:gd name="connsiteX1" fmla="*/ 4035 w 10000"/>
                      <a:gd name="connsiteY1" fmla="*/ 5686 h 10000"/>
                      <a:gd name="connsiteX2" fmla="*/ 5965 w 10000"/>
                      <a:gd name="connsiteY2" fmla="*/ 6569 h 10000"/>
                      <a:gd name="connsiteX3" fmla="*/ 4839 w 10000"/>
                      <a:gd name="connsiteY3" fmla="*/ 7039 h 10000"/>
                      <a:gd name="connsiteX4" fmla="*/ 4386 w 10000"/>
                      <a:gd name="connsiteY4" fmla="*/ 7059 h 10000"/>
                      <a:gd name="connsiteX5" fmla="*/ 1228 w 10000"/>
                      <a:gd name="connsiteY5" fmla="*/ 6667 h 10000"/>
                      <a:gd name="connsiteX6" fmla="*/ 1053 w 10000"/>
                      <a:gd name="connsiteY6" fmla="*/ 6667 h 10000"/>
                      <a:gd name="connsiteX7" fmla="*/ 527 w 10000"/>
                      <a:gd name="connsiteY7" fmla="*/ 6863 h 10000"/>
                      <a:gd name="connsiteX8" fmla="*/ 0 w 10000"/>
                      <a:gd name="connsiteY8" fmla="*/ 8039 h 10000"/>
                      <a:gd name="connsiteX9" fmla="*/ 351 w 10000"/>
                      <a:gd name="connsiteY9" fmla="*/ 8431 h 10000"/>
                      <a:gd name="connsiteX10" fmla="*/ 3509 w 10000"/>
                      <a:gd name="connsiteY10" fmla="*/ 8824 h 10000"/>
                      <a:gd name="connsiteX11" fmla="*/ 3684 w 10000"/>
                      <a:gd name="connsiteY11" fmla="*/ 9706 h 10000"/>
                      <a:gd name="connsiteX12" fmla="*/ 4210 w 10000"/>
                      <a:gd name="connsiteY12" fmla="*/ 10000 h 10000"/>
                      <a:gd name="connsiteX13" fmla="*/ 5790 w 10000"/>
                      <a:gd name="connsiteY13" fmla="*/ 9902 h 10000"/>
                      <a:gd name="connsiteX14" fmla="*/ 6316 w 10000"/>
                      <a:gd name="connsiteY14" fmla="*/ 9608 h 10000"/>
                      <a:gd name="connsiteX15" fmla="*/ 6316 w 10000"/>
                      <a:gd name="connsiteY15" fmla="*/ 8725 h 10000"/>
                      <a:gd name="connsiteX16" fmla="*/ 10000 w 10000"/>
                      <a:gd name="connsiteY16" fmla="*/ 6275 h 10000"/>
                      <a:gd name="connsiteX17" fmla="*/ 6141 w 10000"/>
                      <a:gd name="connsiteY17" fmla="*/ 3922 h 10000"/>
                      <a:gd name="connsiteX18" fmla="*/ 3860 w 10000"/>
                      <a:gd name="connsiteY18" fmla="*/ 3235 h 10000"/>
                      <a:gd name="connsiteX19" fmla="*/ 5264 w 10000"/>
                      <a:gd name="connsiteY19" fmla="*/ 2745 h 10000"/>
                      <a:gd name="connsiteX20" fmla="*/ 7895 w 10000"/>
                      <a:gd name="connsiteY20" fmla="*/ 3039 h 10000"/>
                      <a:gd name="connsiteX21" fmla="*/ 8246 w 10000"/>
                      <a:gd name="connsiteY21" fmla="*/ 3039 h 10000"/>
                      <a:gd name="connsiteX22" fmla="*/ 8772 w 10000"/>
                      <a:gd name="connsiteY22" fmla="*/ 2843 h 10000"/>
                      <a:gd name="connsiteX23" fmla="*/ 9123 w 10000"/>
                      <a:gd name="connsiteY23" fmla="*/ 1667 h 10000"/>
                      <a:gd name="connsiteX24" fmla="*/ 8772 w 10000"/>
                      <a:gd name="connsiteY24" fmla="*/ 1275 h 10000"/>
                      <a:gd name="connsiteX25" fmla="*/ 6141 w 10000"/>
                      <a:gd name="connsiteY25" fmla="*/ 980 h 10000"/>
                      <a:gd name="connsiteX26" fmla="*/ 6141 w 10000"/>
                      <a:gd name="connsiteY26" fmla="*/ 294 h 10000"/>
                      <a:gd name="connsiteX27" fmla="*/ 5615 w 10000"/>
                      <a:gd name="connsiteY27" fmla="*/ 0 h 10000"/>
                      <a:gd name="connsiteX28" fmla="*/ 5615 w 10000"/>
                      <a:gd name="connsiteY28" fmla="*/ 0 h 10000"/>
                      <a:gd name="connsiteX29" fmla="*/ 3860 w 10000"/>
                      <a:gd name="connsiteY29" fmla="*/ 0 h 10000"/>
                      <a:gd name="connsiteX30" fmla="*/ 3333 w 10000"/>
                      <a:gd name="connsiteY30" fmla="*/ 294 h 10000"/>
                      <a:gd name="connsiteX31" fmla="*/ 3333 w 10000"/>
                      <a:gd name="connsiteY31" fmla="*/ 1176 h 10000"/>
                      <a:gd name="connsiteX32" fmla="*/ 227 w 10000"/>
                      <a:gd name="connsiteY32" fmla="*/ 2534 h 10000"/>
                      <a:gd name="connsiteX0" fmla="*/ 4035 w 10000"/>
                      <a:gd name="connsiteY0" fmla="*/ 5686 h 10000"/>
                      <a:gd name="connsiteX1" fmla="*/ 5965 w 10000"/>
                      <a:gd name="connsiteY1" fmla="*/ 6569 h 10000"/>
                      <a:gd name="connsiteX2" fmla="*/ 4839 w 10000"/>
                      <a:gd name="connsiteY2" fmla="*/ 7039 h 10000"/>
                      <a:gd name="connsiteX3" fmla="*/ 4386 w 10000"/>
                      <a:gd name="connsiteY3" fmla="*/ 7059 h 10000"/>
                      <a:gd name="connsiteX4" fmla="*/ 1228 w 10000"/>
                      <a:gd name="connsiteY4" fmla="*/ 6667 h 10000"/>
                      <a:gd name="connsiteX5" fmla="*/ 1053 w 10000"/>
                      <a:gd name="connsiteY5" fmla="*/ 6667 h 10000"/>
                      <a:gd name="connsiteX6" fmla="*/ 527 w 10000"/>
                      <a:gd name="connsiteY6" fmla="*/ 6863 h 10000"/>
                      <a:gd name="connsiteX7" fmla="*/ 0 w 10000"/>
                      <a:gd name="connsiteY7" fmla="*/ 8039 h 10000"/>
                      <a:gd name="connsiteX8" fmla="*/ 351 w 10000"/>
                      <a:gd name="connsiteY8" fmla="*/ 8431 h 10000"/>
                      <a:gd name="connsiteX9" fmla="*/ 3509 w 10000"/>
                      <a:gd name="connsiteY9" fmla="*/ 8824 h 10000"/>
                      <a:gd name="connsiteX10" fmla="*/ 3684 w 10000"/>
                      <a:gd name="connsiteY10" fmla="*/ 9706 h 10000"/>
                      <a:gd name="connsiteX11" fmla="*/ 4210 w 10000"/>
                      <a:gd name="connsiteY11" fmla="*/ 10000 h 10000"/>
                      <a:gd name="connsiteX12" fmla="*/ 5790 w 10000"/>
                      <a:gd name="connsiteY12" fmla="*/ 9902 h 10000"/>
                      <a:gd name="connsiteX13" fmla="*/ 6316 w 10000"/>
                      <a:gd name="connsiteY13" fmla="*/ 9608 h 10000"/>
                      <a:gd name="connsiteX14" fmla="*/ 6316 w 10000"/>
                      <a:gd name="connsiteY14" fmla="*/ 8725 h 10000"/>
                      <a:gd name="connsiteX15" fmla="*/ 10000 w 10000"/>
                      <a:gd name="connsiteY15" fmla="*/ 6275 h 10000"/>
                      <a:gd name="connsiteX16" fmla="*/ 6141 w 10000"/>
                      <a:gd name="connsiteY16" fmla="*/ 3922 h 10000"/>
                      <a:gd name="connsiteX17" fmla="*/ 3860 w 10000"/>
                      <a:gd name="connsiteY17" fmla="*/ 3235 h 10000"/>
                      <a:gd name="connsiteX18" fmla="*/ 5264 w 10000"/>
                      <a:gd name="connsiteY18" fmla="*/ 2745 h 10000"/>
                      <a:gd name="connsiteX19" fmla="*/ 7895 w 10000"/>
                      <a:gd name="connsiteY19" fmla="*/ 3039 h 10000"/>
                      <a:gd name="connsiteX20" fmla="*/ 8246 w 10000"/>
                      <a:gd name="connsiteY20" fmla="*/ 3039 h 10000"/>
                      <a:gd name="connsiteX21" fmla="*/ 8772 w 10000"/>
                      <a:gd name="connsiteY21" fmla="*/ 2843 h 10000"/>
                      <a:gd name="connsiteX22" fmla="*/ 9123 w 10000"/>
                      <a:gd name="connsiteY22" fmla="*/ 1667 h 10000"/>
                      <a:gd name="connsiteX23" fmla="*/ 8772 w 10000"/>
                      <a:gd name="connsiteY23" fmla="*/ 1275 h 10000"/>
                      <a:gd name="connsiteX24" fmla="*/ 6141 w 10000"/>
                      <a:gd name="connsiteY24" fmla="*/ 980 h 10000"/>
                      <a:gd name="connsiteX25" fmla="*/ 6141 w 10000"/>
                      <a:gd name="connsiteY25" fmla="*/ 294 h 10000"/>
                      <a:gd name="connsiteX26" fmla="*/ 5615 w 10000"/>
                      <a:gd name="connsiteY26" fmla="*/ 0 h 10000"/>
                      <a:gd name="connsiteX27" fmla="*/ 5615 w 10000"/>
                      <a:gd name="connsiteY27" fmla="*/ 0 h 10000"/>
                      <a:gd name="connsiteX28" fmla="*/ 3860 w 10000"/>
                      <a:gd name="connsiteY28" fmla="*/ 0 h 10000"/>
                      <a:gd name="connsiteX29" fmla="*/ 3333 w 10000"/>
                      <a:gd name="connsiteY29" fmla="*/ 294 h 10000"/>
                      <a:gd name="connsiteX30" fmla="*/ 3333 w 10000"/>
                      <a:gd name="connsiteY30" fmla="*/ 1176 h 10000"/>
                      <a:gd name="connsiteX31" fmla="*/ 227 w 10000"/>
                      <a:gd name="connsiteY31" fmla="*/ 2534 h 10000"/>
                      <a:gd name="connsiteX0" fmla="*/ 5965 w 10000"/>
                      <a:gd name="connsiteY0" fmla="*/ 6569 h 10000"/>
                      <a:gd name="connsiteX1" fmla="*/ 4839 w 10000"/>
                      <a:gd name="connsiteY1" fmla="*/ 7039 h 10000"/>
                      <a:gd name="connsiteX2" fmla="*/ 4386 w 10000"/>
                      <a:gd name="connsiteY2" fmla="*/ 7059 h 10000"/>
                      <a:gd name="connsiteX3" fmla="*/ 1228 w 10000"/>
                      <a:gd name="connsiteY3" fmla="*/ 6667 h 10000"/>
                      <a:gd name="connsiteX4" fmla="*/ 1053 w 10000"/>
                      <a:gd name="connsiteY4" fmla="*/ 6667 h 10000"/>
                      <a:gd name="connsiteX5" fmla="*/ 527 w 10000"/>
                      <a:gd name="connsiteY5" fmla="*/ 6863 h 10000"/>
                      <a:gd name="connsiteX6" fmla="*/ 0 w 10000"/>
                      <a:gd name="connsiteY6" fmla="*/ 8039 h 10000"/>
                      <a:gd name="connsiteX7" fmla="*/ 351 w 10000"/>
                      <a:gd name="connsiteY7" fmla="*/ 8431 h 10000"/>
                      <a:gd name="connsiteX8" fmla="*/ 3509 w 10000"/>
                      <a:gd name="connsiteY8" fmla="*/ 8824 h 10000"/>
                      <a:gd name="connsiteX9" fmla="*/ 3684 w 10000"/>
                      <a:gd name="connsiteY9" fmla="*/ 9706 h 10000"/>
                      <a:gd name="connsiteX10" fmla="*/ 4210 w 10000"/>
                      <a:gd name="connsiteY10" fmla="*/ 10000 h 10000"/>
                      <a:gd name="connsiteX11" fmla="*/ 5790 w 10000"/>
                      <a:gd name="connsiteY11" fmla="*/ 9902 h 10000"/>
                      <a:gd name="connsiteX12" fmla="*/ 6316 w 10000"/>
                      <a:gd name="connsiteY12" fmla="*/ 9608 h 10000"/>
                      <a:gd name="connsiteX13" fmla="*/ 6316 w 10000"/>
                      <a:gd name="connsiteY13" fmla="*/ 8725 h 10000"/>
                      <a:gd name="connsiteX14" fmla="*/ 10000 w 10000"/>
                      <a:gd name="connsiteY14" fmla="*/ 6275 h 10000"/>
                      <a:gd name="connsiteX15" fmla="*/ 6141 w 10000"/>
                      <a:gd name="connsiteY15" fmla="*/ 3922 h 10000"/>
                      <a:gd name="connsiteX16" fmla="*/ 3860 w 10000"/>
                      <a:gd name="connsiteY16" fmla="*/ 3235 h 10000"/>
                      <a:gd name="connsiteX17" fmla="*/ 5264 w 10000"/>
                      <a:gd name="connsiteY17" fmla="*/ 2745 h 10000"/>
                      <a:gd name="connsiteX18" fmla="*/ 7895 w 10000"/>
                      <a:gd name="connsiteY18" fmla="*/ 3039 h 10000"/>
                      <a:gd name="connsiteX19" fmla="*/ 8246 w 10000"/>
                      <a:gd name="connsiteY19" fmla="*/ 3039 h 10000"/>
                      <a:gd name="connsiteX20" fmla="*/ 8772 w 10000"/>
                      <a:gd name="connsiteY20" fmla="*/ 2843 h 10000"/>
                      <a:gd name="connsiteX21" fmla="*/ 9123 w 10000"/>
                      <a:gd name="connsiteY21" fmla="*/ 1667 h 10000"/>
                      <a:gd name="connsiteX22" fmla="*/ 8772 w 10000"/>
                      <a:gd name="connsiteY22" fmla="*/ 1275 h 10000"/>
                      <a:gd name="connsiteX23" fmla="*/ 6141 w 10000"/>
                      <a:gd name="connsiteY23" fmla="*/ 980 h 10000"/>
                      <a:gd name="connsiteX24" fmla="*/ 6141 w 10000"/>
                      <a:gd name="connsiteY24" fmla="*/ 294 h 10000"/>
                      <a:gd name="connsiteX25" fmla="*/ 5615 w 10000"/>
                      <a:gd name="connsiteY25" fmla="*/ 0 h 10000"/>
                      <a:gd name="connsiteX26" fmla="*/ 5615 w 10000"/>
                      <a:gd name="connsiteY26" fmla="*/ 0 h 10000"/>
                      <a:gd name="connsiteX27" fmla="*/ 3860 w 10000"/>
                      <a:gd name="connsiteY27" fmla="*/ 0 h 10000"/>
                      <a:gd name="connsiteX28" fmla="*/ 3333 w 10000"/>
                      <a:gd name="connsiteY28" fmla="*/ 294 h 10000"/>
                      <a:gd name="connsiteX29" fmla="*/ 3333 w 10000"/>
                      <a:gd name="connsiteY29" fmla="*/ 1176 h 10000"/>
                      <a:gd name="connsiteX30" fmla="*/ 227 w 10000"/>
                      <a:gd name="connsiteY30" fmla="*/ 2534 h 10000"/>
                      <a:gd name="connsiteX0" fmla="*/ 4839 w 10000"/>
                      <a:gd name="connsiteY0" fmla="*/ 7039 h 10000"/>
                      <a:gd name="connsiteX1" fmla="*/ 4386 w 10000"/>
                      <a:gd name="connsiteY1" fmla="*/ 7059 h 10000"/>
                      <a:gd name="connsiteX2" fmla="*/ 1228 w 10000"/>
                      <a:gd name="connsiteY2" fmla="*/ 6667 h 10000"/>
                      <a:gd name="connsiteX3" fmla="*/ 1053 w 10000"/>
                      <a:gd name="connsiteY3" fmla="*/ 6667 h 10000"/>
                      <a:gd name="connsiteX4" fmla="*/ 527 w 10000"/>
                      <a:gd name="connsiteY4" fmla="*/ 6863 h 10000"/>
                      <a:gd name="connsiteX5" fmla="*/ 0 w 10000"/>
                      <a:gd name="connsiteY5" fmla="*/ 8039 h 10000"/>
                      <a:gd name="connsiteX6" fmla="*/ 351 w 10000"/>
                      <a:gd name="connsiteY6" fmla="*/ 8431 h 10000"/>
                      <a:gd name="connsiteX7" fmla="*/ 3509 w 10000"/>
                      <a:gd name="connsiteY7" fmla="*/ 8824 h 10000"/>
                      <a:gd name="connsiteX8" fmla="*/ 3684 w 10000"/>
                      <a:gd name="connsiteY8" fmla="*/ 9706 h 10000"/>
                      <a:gd name="connsiteX9" fmla="*/ 4210 w 10000"/>
                      <a:gd name="connsiteY9" fmla="*/ 10000 h 10000"/>
                      <a:gd name="connsiteX10" fmla="*/ 5790 w 10000"/>
                      <a:gd name="connsiteY10" fmla="*/ 9902 h 10000"/>
                      <a:gd name="connsiteX11" fmla="*/ 6316 w 10000"/>
                      <a:gd name="connsiteY11" fmla="*/ 9608 h 10000"/>
                      <a:gd name="connsiteX12" fmla="*/ 6316 w 10000"/>
                      <a:gd name="connsiteY12" fmla="*/ 8725 h 10000"/>
                      <a:gd name="connsiteX13" fmla="*/ 10000 w 10000"/>
                      <a:gd name="connsiteY13" fmla="*/ 6275 h 10000"/>
                      <a:gd name="connsiteX14" fmla="*/ 6141 w 10000"/>
                      <a:gd name="connsiteY14" fmla="*/ 3922 h 10000"/>
                      <a:gd name="connsiteX15" fmla="*/ 3860 w 10000"/>
                      <a:gd name="connsiteY15" fmla="*/ 3235 h 10000"/>
                      <a:gd name="connsiteX16" fmla="*/ 5264 w 10000"/>
                      <a:gd name="connsiteY16" fmla="*/ 2745 h 10000"/>
                      <a:gd name="connsiteX17" fmla="*/ 7895 w 10000"/>
                      <a:gd name="connsiteY17" fmla="*/ 3039 h 10000"/>
                      <a:gd name="connsiteX18" fmla="*/ 8246 w 10000"/>
                      <a:gd name="connsiteY18" fmla="*/ 3039 h 10000"/>
                      <a:gd name="connsiteX19" fmla="*/ 8772 w 10000"/>
                      <a:gd name="connsiteY19" fmla="*/ 2843 h 10000"/>
                      <a:gd name="connsiteX20" fmla="*/ 9123 w 10000"/>
                      <a:gd name="connsiteY20" fmla="*/ 1667 h 10000"/>
                      <a:gd name="connsiteX21" fmla="*/ 8772 w 10000"/>
                      <a:gd name="connsiteY21" fmla="*/ 1275 h 10000"/>
                      <a:gd name="connsiteX22" fmla="*/ 6141 w 10000"/>
                      <a:gd name="connsiteY22" fmla="*/ 980 h 10000"/>
                      <a:gd name="connsiteX23" fmla="*/ 6141 w 10000"/>
                      <a:gd name="connsiteY23" fmla="*/ 294 h 10000"/>
                      <a:gd name="connsiteX24" fmla="*/ 5615 w 10000"/>
                      <a:gd name="connsiteY24" fmla="*/ 0 h 10000"/>
                      <a:gd name="connsiteX25" fmla="*/ 5615 w 10000"/>
                      <a:gd name="connsiteY25" fmla="*/ 0 h 10000"/>
                      <a:gd name="connsiteX26" fmla="*/ 3860 w 10000"/>
                      <a:gd name="connsiteY26" fmla="*/ 0 h 10000"/>
                      <a:gd name="connsiteX27" fmla="*/ 3333 w 10000"/>
                      <a:gd name="connsiteY27" fmla="*/ 294 h 10000"/>
                      <a:gd name="connsiteX28" fmla="*/ 3333 w 10000"/>
                      <a:gd name="connsiteY28" fmla="*/ 1176 h 10000"/>
                      <a:gd name="connsiteX29" fmla="*/ 227 w 10000"/>
                      <a:gd name="connsiteY29" fmla="*/ 2534 h 10000"/>
                      <a:gd name="connsiteX0" fmla="*/ 4386 w 10000"/>
                      <a:gd name="connsiteY0" fmla="*/ 7059 h 10000"/>
                      <a:gd name="connsiteX1" fmla="*/ 1228 w 10000"/>
                      <a:gd name="connsiteY1" fmla="*/ 6667 h 10000"/>
                      <a:gd name="connsiteX2" fmla="*/ 1053 w 10000"/>
                      <a:gd name="connsiteY2" fmla="*/ 6667 h 10000"/>
                      <a:gd name="connsiteX3" fmla="*/ 527 w 10000"/>
                      <a:gd name="connsiteY3" fmla="*/ 6863 h 10000"/>
                      <a:gd name="connsiteX4" fmla="*/ 0 w 10000"/>
                      <a:gd name="connsiteY4" fmla="*/ 8039 h 10000"/>
                      <a:gd name="connsiteX5" fmla="*/ 351 w 10000"/>
                      <a:gd name="connsiteY5" fmla="*/ 8431 h 10000"/>
                      <a:gd name="connsiteX6" fmla="*/ 3509 w 10000"/>
                      <a:gd name="connsiteY6" fmla="*/ 8824 h 10000"/>
                      <a:gd name="connsiteX7" fmla="*/ 3684 w 10000"/>
                      <a:gd name="connsiteY7" fmla="*/ 9706 h 10000"/>
                      <a:gd name="connsiteX8" fmla="*/ 4210 w 10000"/>
                      <a:gd name="connsiteY8" fmla="*/ 10000 h 10000"/>
                      <a:gd name="connsiteX9" fmla="*/ 5790 w 10000"/>
                      <a:gd name="connsiteY9" fmla="*/ 9902 h 10000"/>
                      <a:gd name="connsiteX10" fmla="*/ 6316 w 10000"/>
                      <a:gd name="connsiteY10" fmla="*/ 9608 h 10000"/>
                      <a:gd name="connsiteX11" fmla="*/ 6316 w 10000"/>
                      <a:gd name="connsiteY11" fmla="*/ 8725 h 10000"/>
                      <a:gd name="connsiteX12" fmla="*/ 10000 w 10000"/>
                      <a:gd name="connsiteY12" fmla="*/ 6275 h 10000"/>
                      <a:gd name="connsiteX13" fmla="*/ 6141 w 10000"/>
                      <a:gd name="connsiteY13" fmla="*/ 3922 h 10000"/>
                      <a:gd name="connsiteX14" fmla="*/ 3860 w 10000"/>
                      <a:gd name="connsiteY14" fmla="*/ 3235 h 10000"/>
                      <a:gd name="connsiteX15" fmla="*/ 5264 w 10000"/>
                      <a:gd name="connsiteY15" fmla="*/ 2745 h 10000"/>
                      <a:gd name="connsiteX16" fmla="*/ 7895 w 10000"/>
                      <a:gd name="connsiteY16" fmla="*/ 3039 h 10000"/>
                      <a:gd name="connsiteX17" fmla="*/ 8246 w 10000"/>
                      <a:gd name="connsiteY17" fmla="*/ 3039 h 10000"/>
                      <a:gd name="connsiteX18" fmla="*/ 8772 w 10000"/>
                      <a:gd name="connsiteY18" fmla="*/ 2843 h 10000"/>
                      <a:gd name="connsiteX19" fmla="*/ 9123 w 10000"/>
                      <a:gd name="connsiteY19" fmla="*/ 1667 h 10000"/>
                      <a:gd name="connsiteX20" fmla="*/ 8772 w 10000"/>
                      <a:gd name="connsiteY20" fmla="*/ 1275 h 10000"/>
                      <a:gd name="connsiteX21" fmla="*/ 6141 w 10000"/>
                      <a:gd name="connsiteY21" fmla="*/ 980 h 10000"/>
                      <a:gd name="connsiteX22" fmla="*/ 6141 w 10000"/>
                      <a:gd name="connsiteY22" fmla="*/ 294 h 10000"/>
                      <a:gd name="connsiteX23" fmla="*/ 5615 w 10000"/>
                      <a:gd name="connsiteY23" fmla="*/ 0 h 10000"/>
                      <a:gd name="connsiteX24" fmla="*/ 5615 w 10000"/>
                      <a:gd name="connsiteY24" fmla="*/ 0 h 10000"/>
                      <a:gd name="connsiteX25" fmla="*/ 3860 w 10000"/>
                      <a:gd name="connsiteY25" fmla="*/ 0 h 10000"/>
                      <a:gd name="connsiteX26" fmla="*/ 3333 w 10000"/>
                      <a:gd name="connsiteY26" fmla="*/ 294 h 10000"/>
                      <a:gd name="connsiteX27" fmla="*/ 3333 w 10000"/>
                      <a:gd name="connsiteY27" fmla="*/ 1176 h 10000"/>
                      <a:gd name="connsiteX28" fmla="*/ 227 w 10000"/>
                      <a:gd name="connsiteY28" fmla="*/ 2534 h 10000"/>
                      <a:gd name="connsiteX0" fmla="*/ 1228 w 10000"/>
                      <a:gd name="connsiteY0" fmla="*/ 6667 h 10000"/>
                      <a:gd name="connsiteX1" fmla="*/ 1053 w 10000"/>
                      <a:gd name="connsiteY1" fmla="*/ 6667 h 10000"/>
                      <a:gd name="connsiteX2" fmla="*/ 527 w 10000"/>
                      <a:gd name="connsiteY2" fmla="*/ 6863 h 10000"/>
                      <a:gd name="connsiteX3" fmla="*/ 0 w 10000"/>
                      <a:gd name="connsiteY3" fmla="*/ 8039 h 10000"/>
                      <a:gd name="connsiteX4" fmla="*/ 351 w 10000"/>
                      <a:gd name="connsiteY4" fmla="*/ 8431 h 10000"/>
                      <a:gd name="connsiteX5" fmla="*/ 3509 w 10000"/>
                      <a:gd name="connsiteY5" fmla="*/ 8824 h 10000"/>
                      <a:gd name="connsiteX6" fmla="*/ 3684 w 10000"/>
                      <a:gd name="connsiteY6" fmla="*/ 9706 h 10000"/>
                      <a:gd name="connsiteX7" fmla="*/ 4210 w 10000"/>
                      <a:gd name="connsiteY7" fmla="*/ 10000 h 10000"/>
                      <a:gd name="connsiteX8" fmla="*/ 5790 w 10000"/>
                      <a:gd name="connsiteY8" fmla="*/ 9902 h 10000"/>
                      <a:gd name="connsiteX9" fmla="*/ 6316 w 10000"/>
                      <a:gd name="connsiteY9" fmla="*/ 9608 h 10000"/>
                      <a:gd name="connsiteX10" fmla="*/ 6316 w 10000"/>
                      <a:gd name="connsiteY10" fmla="*/ 8725 h 10000"/>
                      <a:gd name="connsiteX11" fmla="*/ 10000 w 10000"/>
                      <a:gd name="connsiteY11" fmla="*/ 6275 h 10000"/>
                      <a:gd name="connsiteX12" fmla="*/ 6141 w 10000"/>
                      <a:gd name="connsiteY12" fmla="*/ 3922 h 10000"/>
                      <a:gd name="connsiteX13" fmla="*/ 3860 w 10000"/>
                      <a:gd name="connsiteY13" fmla="*/ 3235 h 10000"/>
                      <a:gd name="connsiteX14" fmla="*/ 5264 w 10000"/>
                      <a:gd name="connsiteY14" fmla="*/ 2745 h 10000"/>
                      <a:gd name="connsiteX15" fmla="*/ 7895 w 10000"/>
                      <a:gd name="connsiteY15" fmla="*/ 3039 h 10000"/>
                      <a:gd name="connsiteX16" fmla="*/ 8246 w 10000"/>
                      <a:gd name="connsiteY16" fmla="*/ 3039 h 10000"/>
                      <a:gd name="connsiteX17" fmla="*/ 8772 w 10000"/>
                      <a:gd name="connsiteY17" fmla="*/ 2843 h 10000"/>
                      <a:gd name="connsiteX18" fmla="*/ 9123 w 10000"/>
                      <a:gd name="connsiteY18" fmla="*/ 1667 h 10000"/>
                      <a:gd name="connsiteX19" fmla="*/ 8772 w 10000"/>
                      <a:gd name="connsiteY19" fmla="*/ 1275 h 10000"/>
                      <a:gd name="connsiteX20" fmla="*/ 6141 w 10000"/>
                      <a:gd name="connsiteY20" fmla="*/ 980 h 10000"/>
                      <a:gd name="connsiteX21" fmla="*/ 6141 w 10000"/>
                      <a:gd name="connsiteY21" fmla="*/ 294 h 10000"/>
                      <a:gd name="connsiteX22" fmla="*/ 5615 w 10000"/>
                      <a:gd name="connsiteY22" fmla="*/ 0 h 10000"/>
                      <a:gd name="connsiteX23" fmla="*/ 5615 w 10000"/>
                      <a:gd name="connsiteY23" fmla="*/ 0 h 10000"/>
                      <a:gd name="connsiteX24" fmla="*/ 3860 w 10000"/>
                      <a:gd name="connsiteY24" fmla="*/ 0 h 10000"/>
                      <a:gd name="connsiteX25" fmla="*/ 3333 w 10000"/>
                      <a:gd name="connsiteY25" fmla="*/ 294 h 10000"/>
                      <a:gd name="connsiteX26" fmla="*/ 3333 w 10000"/>
                      <a:gd name="connsiteY26" fmla="*/ 1176 h 10000"/>
                      <a:gd name="connsiteX27" fmla="*/ 227 w 10000"/>
                      <a:gd name="connsiteY27" fmla="*/ 2534 h 10000"/>
                      <a:gd name="connsiteX0" fmla="*/ 1053 w 10000"/>
                      <a:gd name="connsiteY0" fmla="*/ 6667 h 10000"/>
                      <a:gd name="connsiteX1" fmla="*/ 527 w 10000"/>
                      <a:gd name="connsiteY1" fmla="*/ 6863 h 10000"/>
                      <a:gd name="connsiteX2" fmla="*/ 0 w 10000"/>
                      <a:gd name="connsiteY2" fmla="*/ 8039 h 10000"/>
                      <a:gd name="connsiteX3" fmla="*/ 351 w 10000"/>
                      <a:gd name="connsiteY3" fmla="*/ 8431 h 10000"/>
                      <a:gd name="connsiteX4" fmla="*/ 3509 w 10000"/>
                      <a:gd name="connsiteY4" fmla="*/ 8824 h 10000"/>
                      <a:gd name="connsiteX5" fmla="*/ 3684 w 10000"/>
                      <a:gd name="connsiteY5" fmla="*/ 9706 h 10000"/>
                      <a:gd name="connsiteX6" fmla="*/ 4210 w 10000"/>
                      <a:gd name="connsiteY6" fmla="*/ 10000 h 10000"/>
                      <a:gd name="connsiteX7" fmla="*/ 5790 w 10000"/>
                      <a:gd name="connsiteY7" fmla="*/ 9902 h 10000"/>
                      <a:gd name="connsiteX8" fmla="*/ 6316 w 10000"/>
                      <a:gd name="connsiteY8" fmla="*/ 9608 h 10000"/>
                      <a:gd name="connsiteX9" fmla="*/ 6316 w 10000"/>
                      <a:gd name="connsiteY9" fmla="*/ 8725 h 10000"/>
                      <a:gd name="connsiteX10" fmla="*/ 10000 w 10000"/>
                      <a:gd name="connsiteY10" fmla="*/ 6275 h 10000"/>
                      <a:gd name="connsiteX11" fmla="*/ 6141 w 10000"/>
                      <a:gd name="connsiteY11" fmla="*/ 3922 h 10000"/>
                      <a:gd name="connsiteX12" fmla="*/ 3860 w 10000"/>
                      <a:gd name="connsiteY12" fmla="*/ 3235 h 10000"/>
                      <a:gd name="connsiteX13" fmla="*/ 5264 w 10000"/>
                      <a:gd name="connsiteY13" fmla="*/ 2745 h 10000"/>
                      <a:gd name="connsiteX14" fmla="*/ 7895 w 10000"/>
                      <a:gd name="connsiteY14" fmla="*/ 3039 h 10000"/>
                      <a:gd name="connsiteX15" fmla="*/ 8246 w 10000"/>
                      <a:gd name="connsiteY15" fmla="*/ 3039 h 10000"/>
                      <a:gd name="connsiteX16" fmla="*/ 8772 w 10000"/>
                      <a:gd name="connsiteY16" fmla="*/ 2843 h 10000"/>
                      <a:gd name="connsiteX17" fmla="*/ 9123 w 10000"/>
                      <a:gd name="connsiteY17" fmla="*/ 1667 h 10000"/>
                      <a:gd name="connsiteX18" fmla="*/ 8772 w 10000"/>
                      <a:gd name="connsiteY18" fmla="*/ 1275 h 10000"/>
                      <a:gd name="connsiteX19" fmla="*/ 6141 w 10000"/>
                      <a:gd name="connsiteY19" fmla="*/ 980 h 10000"/>
                      <a:gd name="connsiteX20" fmla="*/ 6141 w 10000"/>
                      <a:gd name="connsiteY20" fmla="*/ 294 h 10000"/>
                      <a:gd name="connsiteX21" fmla="*/ 5615 w 10000"/>
                      <a:gd name="connsiteY21" fmla="*/ 0 h 10000"/>
                      <a:gd name="connsiteX22" fmla="*/ 5615 w 10000"/>
                      <a:gd name="connsiteY22" fmla="*/ 0 h 10000"/>
                      <a:gd name="connsiteX23" fmla="*/ 3860 w 10000"/>
                      <a:gd name="connsiteY23" fmla="*/ 0 h 10000"/>
                      <a:gd name="connsiteX24" fmla="*/ 3333 w 10000"/>
                      <a:gd name="connsiteY24" fmla="*/ 294 h 10000"/>
                      <a:gd name="connsiteX25" fmla="*/ 3333 w 10000"/>
                      <a:gd name="connsiteY25" fmla="*/ 1176 h 10000"/>
                      <a:gd name="connsiteX26" fmla="*/ 227 w 10000"/>
                      <a:gd name="connsiteY26" fmla="*/ 2534 h 10000"/>
                      <a:gd name="connsiteX0" fmla="*/ 527 w 10000"/>
                      <a:gd name="connsiteY0" fmla="*/ 6863 h 10000"/>
                      <a:gd name="connsiteX1" fmla="*/ 0 w 10000"/>
                      <a:gd name="connsiteY1" fmla="*/ 8039 h 10000"/>
                      <a:gd name="connsiteX2" fmla="*/ 351 w 10000"/>
                      <a:gd name="connsiteY2" fmla="*/ 8431 h 10000"/>
                      <a:gd name="connsiteX3" fmla="*/ 3509 w 10000"/>
                      <a:gd name="connsiteY3" fmla="*/ 8824 h 10000"/>
                      <a:gd name="connsiteX4" fmla="*/ 3684 w 10000"/>
                      <a:gd name="connsiteY4" fmla="*/ 9706 h 10000"/>
                      <a:gd name="connsiteX5" fmla="*/ 4210 w 10000"/>
                      <a:gd name="connsiteY5" fmla="*/ 10000 h 10000"/>
                      <a:gd name="connsiteX6" fmla="*/ 5790 w 10000"/>
                      <a:gd name="connsiteY6" fmla="*/ 9902 h 10000"/>
                      <a:gd name="connsiteX7" fmla="*/ 6316 w 10000"/>
                      <a:gd name="connsiteY7" fmla="*/ 9608 h 10000"/>
                      <a:gd name="connsiteX8" fmla="*/ 6316 w 10000"/>
                      <a:gd name="connsiteY8" fmla="*/ 8725 h 10000"/>
                      <a:gd name="connsiteX9" fmla="*/ 10000 w 10000"/>
                      <a:gd name="connsiteY9" fmla="*/ 6275 h 10000"/>
                      <a:gd name="connsiteX10" fmla="*/ 6141 w 10000"/>
                      <a:gd name="connsiteY10" fmla="*/ 3922 h 10000"/>
                      <a:gd name="connsiteX11" fmla="*/ 3860 w 10000"/>
                      <a:gd name="connsiteY11" fmla="*/ 3235 h 10000"/>
                      <a:gd name="connsiteX12" fmla="*/ 5264 w 10000"/>
                      <a:gd name="connsiteY12" fmla="*/ 2745 h 10000"/>
                      <a:gd name="connsiteX13" fmla="*/ 7895 w 10000"/>
                      <a:gd name="connsiteY13" fmla="*/ 3039 h 10000"/>
                      <a:gd name="connsiteX14" fmla="*/ 8246 w 10000"/>
                      <a:gd name="connsiteY14" fmla="*/ 3039 h 10000"/>
                      <a:gd name="connsiteX15" fmla="*/ 8772 w 10000"/>
                      <a:gd name="connsiteY15" fmla="*/ 2843 h 10000"/>
                      <a:gd name="connsiteX16" fmla="*/ 9123 w 10000"/>
                      <a:gd name="connsiteY16" fmla="*/ 1667 h 10000"/>
                      <a:gd name="connsiteX17" fmla="*/ 8772 w 10000"/>
                      <a:gd name="connsiteY17" fmla="*/ 1275 h 10000"/>
                      <a:gd name="connsiteX18" fmla="*/ 6141 w 10000"/>
                      <a:gd name="connsiteY18" fmla="*/ 980 h 10000"/>
                      <a:gd name="connsiteX19" fmla="*/ 6141 w 10000"/>
                      <a:gd name="connsiteY19" fmla="*/ 294 h 10000"/>
                      <a:gd name="connsiteX20" fmla="*/ 5615 w 10000"/>
                      <a:gd name="connsiteY20" fmla="*/ 0 h 10000"/>
                      <a:gd name="connsiteX21" fmla="*/ 5615 w 10000"/>
                      <a:gd name="connsiteY21" fmla="*/ 0 h 10000"/>
                      <a:gd name="connsiteX22" fmla="*/ 3860 w 10000"/>
                      <a:gd name="connsiteY22" fmla="*/ 0 h 10000"/>
                      <a:gd name="connsiteX23" fmla="*/ 3333 w 10000"/>
                      <a:gd name="connsiteY23" fmla="*/ 294 h 10000"/>
                      <a:gd name="connsiteX24" fmla="*/ 3333 w 10000"/>
                      <a:gd name="connsiteY24" fmla="*/ 1176 h 10000"/>
                      <a:gd name="connsiteX25" fmla="*/ 227 w 10000"/>
                      <a:gd name="connsiteY25" fmla="*/ 2534 h 10000"/>
                      <a:gd name="connsiteX0" fmla="*/ 0 w 10000"/>
                      <a:gd name="connsiteY0" fmla="*/ 8039 h 10000"/>
                      <a:gd name="connsiteX1" fmla="*/ 351 w 10000"/>
                      <a:gd name="connsiteY1" fmla="*/ 8431 h 10000"/>
                      <a:gd name="connsiteX2" fmla="*/ 3509 w 10000"/>
                      <a:gd name="connsiteY2" fmla="*/ 8824 h 10000"/>
                      <a:gd name="connsiteX3" fmla="*/ 3684 w 10000"/>
                      <a:gd name="connsiteY3" fmla="*/ 9706 h 10000"/>
                      <a:gd name="connsiteX4" fmla="*/ 4210 w 10000"/>
                      <a:gd name="connsiteY4" fmla="*/ 10000 h 10000"/>
                      <a:gd name="connsiteX5" fmla="*/ 5790 w 10000"/>
                      <a:gd name="connsiteY5" fmla="*/ 9902 h 10000"/>
                      <a:gd name="connsiteX6" fmla="*/ 6316 w 10000"/>
                      <a:gd name="connsiteY6" fmla="*/ 9608 h 10000"/>
                      <a:gd name="connsiteX7" fmla="*/ 6316 w 10000"/>
                      <a:gd name="connsiteY7" fmla="*/ 8725 h 10000"/>
                      <a:gd name="connsiteX8" fmla="*/ 10000 w 10000"/>
                      <a:gd name="connsiteY8" fmla="*/ 6275 h 10000"/>
                      <a:gd name="connsiteX9" fmla="*/ 6141 w 10000"/>
                      <a:gd name="connsiteY9" fmla="*/ 3922 h 10000"/>
                      <a:gd name="connsiteX10" fmla="*/ 3860 w 10000"/>
                      <a:gd name="connsiteY10" fmla="*/ 3235 h 10000"/>
                      <a:gd name="connsiteX11" fmla="*/ 5264 w 10000"/>
                      <a:gd name="connsiteY11" fmla="*/ 2745 h 10000"/>
                      <a:gd name="connsiteX12" fmla="*/ 7895 w 10000"/>
                      <a:gd name="connsiteY12" fmla="*/ 3039 h 10000"/>
                      <a:gd name="connsiteX13" fmla="*/ 8246 w 10000"/>
                      <a:gd name="connsiteY13" fmla="*/ 3039 h 10000"/>
                      <a:gd name="connsiteX14" fmla="*/ 8772 w 10000"/>
                      <a:gd name="connsiteY14" fmla="*/ 2843 h 10000"/>
                      <a:gd name="connsiteX15" fmla="*/ 9123 w 10000"/>
                      <a:gd name="connsiteY15" fmla="*/ 1667 h 10000"/>
                      <a:gd name="connsiteX16" fmla="*/ 8772 w 10000"/>
                      <a:gd name="connsiteY16" fmla="*/ 1275 h 10000"/>
                      <a:gd name="connsiteX17" fmla="*/ 6141 w 10000"/>
                      <a:gd name="connsiteY17" fmla="*/ 980 h 10000"/>
                      <a:gd name="connsiteX18" fmla="*/ 6141 w 10000"/>
                      <a:gd name="connsiteY18" fmla="*/ 294 h 10000"/>
                      <a:gd name="connsiteX19" fmla="*/ 5615 w 10000"/>
                      <a:gd name="connsiteY19" fmla="*/ 0 h 10000"/>
                      <a:gd name="connsiteX20" fmla="*/ 5615 w 10000"/>
                      <a:gd name="connsiteY20" fmla="*/ 0 h 10000"/>
                      <a:gd name="connsiteX21" fmla="*/ 3860 w 10000"/>
                      <a:gd name="connsiteY21" fmla="*/ 0 h 10000"/>
                      <a:gd name="connsiteX22" fmla="*/ 3333 w 10000"/>
                      <a:gd name="connsiteY22" fmla="*/ 294 h 10000"/>
                      <a:gd name="connsiteX23" fmla="*/ 3333 w 10000"/>
                      <a:gd name="connsiteY23" fmla="*/ 1176 h 10000"/>
                      <a:gd name="connsiteX24" fmla="*/ 227 w 10000"/>
                      <a:gd name="connsiteY24" fmla="*/ 2534 h 10000"/>
                      <a:gd name="connsiteX0" fmla="*/ 124 w 9773"/>
                      <a:gd name="connsiteY0" fmla="*/ 8431 h 10000"/>
                      <a:gd name="connsiteX1" fmla="*/ 3282 w 9773"/>
                      <a:gd name="connsiteY1" fmla="*/ 8824 h 10000"/>
                      <a:gd name="connsiteX2" fmla="*/ 3457 w 9773"/>
                      <a:gd name="connsiteY2" fmla="*/ 9706 h 10000"/>
                      <a:gd name="connsiteX3" fmla="*/ 3983 w 9773"/>
                      <a:gd name="connsiteY3" fmla="*/ 10000 h 10000"/>
                      <a:gd name="connsiteX4" fmla="*/ 5563 w 9773"/>
                      <a:gd name="connsiteY4" fmla="*/ 9902 h 10000"/>
                      <a:gd name="connsiteX5" fmla="*/ 6089 w 9773"/>
                      <a:gd name="connsiteY5" fmla="*/ 9608 h 10000"/>
                      <a:gd name="connsiteX6" fmla="*/ 6089 w 9773"/>
                      <a:gd name="connsiteY6" fmla="*/ 8725 h 10000"/>
                      <a:gd name="connsiteX7" fmla="*/ 9773 w 9773"/>
                      <a:gd name="connsiteY7" fmla="*/ 6275 h 10000"/>
                      <a:gd name="connsiteX8" fmla="*/ 5914 w 9773"/>
                      <a:gd name="connsiteY8" fmla="*/ 3922 h 10000"/>
                      <a:gd name="connsiteX9" fmla="*/ 3633 w 9773"/>
                      <a:gd name="connsiteY9" fmla="*/ 3235 h 10000"/>
                      <a:gd name="connsiteX10" fmla="*/ 5037 w 9773"/>
                      <a:gd name="connsiteY10" fmla="*/ 2745 h 10000"/>
                      <a:gd name="connsiteX11" fmla="*/ 7668 w 9773"/>
                      <a:gd name="connsiteY11" fmla="*/ 3039 h 10000"/>
                      <a:gd name="connsiteX12" fmla="*/ 8019 w 9773"/>
                      <a:gd name="connsiteY12" fmla="*/ 3039 h 10000"/>
                      <a:gd name="connsiteX13" fmla="*/ 8545 w 9773"/>
                      <a:gd name="connsiteY13" fmla="*/ 2843 h 10000"/>
                      <a:gd name="connsiteX14" fmla="*/ 8896 w 9773"/>
                      <a:gd name="connsiteY14" fmla="*/ 1667 h 10000"/>
                      <a:gd name="connsiteX15" fmla="*/ 8545 w 9773"/>
                      <a:gd name="connsiteY15" fmla="*/ 1275 h 10000"/>
                      <a:gd name="connsiteX16" fmla="*/ 5914 w 9773"/>
                      <a:gd name="connsiteY16" fmla="*/ 980 h 10000"/>
                      <a:gd name="connsiteX17" fmla="*/ 5914 w 9773"/>
                      <a:gd name="connsiteY17" fmla="*/ 294 h 10000"/>
                      <a:gd name="connsiteX18" fmla="*/ 5388 w 9773"/>
                      <a:gd name="connsiteY18" fmla="*/ 0 h 10000"/>
                      <a:gd name="connsiteX19" fmla="*/ 5388 w 9773"/>
                      <a:gd name="connsiteY19" fmla="*/ 0 h 10000"/>
                      <a:gd name="connsiteX20" fmla="*/ 3633 w 9773"/>
                      <a:gd name="connsiteY20" fmla="*/ 0 h 10000"/>
                      <a:gd name="connsiteX21" fmla="*/ 3106 w 9773"/>
                      <a:gd name="connsiteY21" fmla="*/ 294 h 10000"/>
                      <a:gd name="connsiteX22" fmla="*/ 3106 w 9773"/>
                      <a:gd name="connsiteY22" fmla="*/ 1176 h 10000"/>
                      <a:gd name="connsiteX23" fmla="*/ 0 w 9773"/>
                      <a:gd name="connsiteY23"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205 w 10000"/>
                      <a:gd name="connsiteY11" fmla="*/ 3039 h 10000"/>
                      <a:gd name="connsiteX12" fmla="*/ 8743 w 10000"/>
                      <a:gd name="connsiteY12" fmla="*/ 2843 h 10000"/>
                      <a:gd name="connsiteX13" fmla="*/ 9103 w 10000"/>
                      <a:gd name="connsiteY13" fmla="*/ 1667 h 10000"/>
                      <a:gd name="connsiteX14" fmla="*/ 8743 w 10000"/>
                      <a:gd name="connsiteY14" fmla="*/ 1275 h 10000"/>
                      <a:gd name="connsiteX15" fmla="*/ 6051 w 10000"/>
                      <a:gd name="connsiteY15" fmla="*/ 980 h 10000"/>
                      <a:gd name="connsiteX16" fmla="*/ 6051 w 10000"/>
                      <a:gd name="connsiteY16" fmla="*/ 294 h 10000"/>
                      <a:gd name="connsiteX17" fmla="*/ 5513 w 10000"/>
                      <a:gd name="connsiteY17" fmla="*/ 0 h 10000"/>
                      <a:gd name="connsiteX18" fmla="*/ 5513 w 10000"/>
                      <a:gd name="connsiteY18" fmla="*/ 0 h 10000"/>
                      <a:gd name="connsiteX19" fmla="*/ 3717 w 10000"/>
                      <a:gd name="connsiteY19" fmla="*/ 0 h 10000"/>
                      <a:gd name="connsiteX20" fmla="*/ 3178 w 10000"/>
                      <a:gd name="connsiteY20" fmla="*/ 294 h 10000"/>
                      <a:gd name="connsiteX21" fmla="*/ 3178 w 10000"/>
                      <a:gd name="connsiteY21" fmla="*/ 1176 h 10000"/>
                      <a:gd name="connsiteX22" fmla="*/ 0 w 10000"/>
                      <a:gd name="connsiteY22"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358 w 10000"/>
                      <a:gd name="connsiteY0" fmla="*/ 882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444 w 10000"/>
                      <a:gd name="connsiteY0" fmla="*/ 8964 h 10000"/>
                      <a:gd name="connsiteX1" fmla="*/ 3537 w 10000"/>
                      <a:gd name="connsiteY1" fmla="*/ 9706 h 10000"/>
                      <a:gd name="connsiteX2" fmla="*/ 4076 w 10000"/>
                      <a:gd name="connsiteY2" fmla="*/ 10000 h 10000"/>
                      <a:gd name="connsiteX3" fmla="*/ 5692 w 10000"/>
                      <a:gd name="connsiteY3" fmla="*/ 9902 h 10000"/>
                      <a:gd name="connsiteX4" fmla="*/ 6230 w 10000"/>
                      <a:gd name="connsiteY4" fmla="*/ 9608 h 10000"/>
                      <a:gd name="connsiteX5" fmla="*/ 6230 w 10000"/>
                      <a:gd name="connsiteY5" fmla="*/ 8725 h 10000"/>
                      <a:gd name="connsiteX6" fmla="*/ 10000 w 10000"/>
                      <a:gd name="connsiteY6" fmla="*/ 6275 h 10000"/>
                      <a:gd name="connsiteX7" fmla="*/ 6051 w 10000"/>
                      <a:gd name="connsiteY7" fmla="*/ 3922 h 10000"/>
                      <a:gd name="connsiteX8" fmla="*/ 3717 w 10000"/>
                      <a:gd name="connsiteY8" fmla="*/ 3235 h 10000"/>
                      <a:gd name="connsiteX9" fmla="*/ 5154 w 10000"/>
                      <a:gd name="connsiteY9" fmla="*/ 2745 h 10000"/>
                      <a:gd name="connsiteX10" fmla="*/ 7846 w 10000"/>
                      <a:gd name="connsiteY10" fmla="*/ 3039 h 10000"/>
                      <a:gd name="connsiteX11" fmla="*/ 8743 w 10000"/>
                      <a:gd name="connsiteY11" fmla="*/ 2843 h 10000"/>
                      <a:gd name="connsiteX12" fmla="*/ 9103 w 10000"/>
                      <a:gd name="connsiteY12" fmla="*/ 1667 h 10000"/>
                      <a:gd name="connsiteX13" fmla="*/ 8743 w 10000"/>
                      <a:gd name="connsiteY13" fmla="*/ 1275 h 10000"/>
                      <a:gd name="connsiteX14" fmla="*/ 6051 w 10000"/>
                      <a:gd name="connsiteY14" fmla="*/ 980 h 10000"/>
                      <a:gd name="connsiteX15" fmla="*/ 6051 w 10000"/>
                      <a:gd name="connsiteY15" fmla="*/ 294 h 10000"/>
                      <a:gd name="connsiteX16" fmla="*/ 5513 w 10000"/>
                      <a:gd name="connsiteY16" fmla="*/ 0 h 10000"/>
                      <a:gd name="connsiteX17" fmla="*/ 5513 w 10000"/>
                      <a:gd name="connsiteY17" fmla="*/ 0 h 10000"/>
                      <a:gd name="connsiteX18" fmla="*/ 3717 w 10000"/>
                      <a:gd name="connsiteY18" fmla="*/ 0 h 10000"/>
                      <a:gd name="connsiteX19" fmla="*/ 3178 w 10000"/>
                      <a:gd name="connsiteY19" fmla="*/ 294 h 10000"/>
                      <a:gd name="connsiteX20" fmla="*/ 3178 w 10000"/>
                      <a:gd name="connsiteY20" fmla="*/ 1176 h 10000"/>
                      <a:gd name="connsiteX21" fmla="*/ 0 w 10000"/>
                      <a:gd name="connsiteY21" fmla="*/ 2534 h 10000"/>
                      <a:gd name="connsiteX0" fmla="*/ 3216 w 9772"/>
                      <a:gd name="connsiteY0" fmla="*/ 8964 h 10000"/>
                      <a:gd name="connsiteX1" fmla="*/ 3309 w 9772"/>
                      <a:gd name="connsiteY1" fmla="*/ 9706 h 10000"/>
                      <a:gd name="connsiteX2" fmla="*/ 3848 w 9772"/>
                      <a:gd name="connsiteY2" fmla="*/ 10000 h 10000"/>
                      <a:gd name="connsiteX3" fmla="*/ 5464 w 9772"/>
                      <a:gd name="connsiteY3" fmla="*/ 9902 h 10000"/>
                      <a:gd name="connsiteX4" fmla="*/ 6002 w 9772"/>
                      <a:gd name="connsiteY4" fmla="*/ 9608 h 10000"/>
                      <a:gd name="connsiteX5" fmla="*/ 6002 w 9772"/>
                      <a:gd name="connsiteY5" fmla="*/ 8725 h 10000"/>
                      <a:gd name="connsiteX6" fmla="*/ 9772 w 9772"/>
                      <a:gd name="connsiteY6" fmla="*/ 6275 h 10000"/>
                      <a:gd name="connsiteX7" fmla="*/ 5823 w 9772"/>
                      <a:gd name="connsiteY7" fmla="*/ 3922 h 10000"/>
                      <a:gd name="connsiteX8" fmla="*/ 3489 w 9772"/>
                      <a:gd name="connsiteY8" fmla="*/ 3235 h 10000"/>
                      <a:gd name="connsiteX9" fmla="*/ 4926 w 9772"/>
                      <a:gd name="connsiteY9" fmla="*/ 2745 h 10000"/>
                      <a:gd name="connsiteX10" fmla="*/ 7618 w 9772"/>
                      <a:gd name="connsiteY10" fmla="*/ 3039 h 10000"/>
                      <a:gd name="connsiteX11" fmla="*/ 8515 w 9772"/>
                      <a:gd name="connsiteY11" fmla="*/ 2843 h 10000"/>
                      <a:gd name="connsiteX12" fmla="*/ 8875 w 9772"/>
                      <a:gd name="connsiteY12" fmla="*/ 1667 h 10000"/>
                      <a:gd name="connsiteX13" fmla="*/ 8515 w 9772"/>
                      <a:gd name="connsiteY13" fmla="*/ 1275 h 10000"/>
                      <a:gd name="connsiteX14" fmla="*/ 5823 w 9772"/>
                      <a:gd name="connsiteY14" fmla="*/ 980 h 10000"/>
                      <a:gd name="connsiteX15" fmla="*/ 5823 w 9772"/>
                      <a:gd name="connsiteY15" fmla="*/ 294 h 10000"/>
                      <a:gd name="connsiteX16" fmla="*/ 5285 w 9772"/>
                      <a:gd name="connsiteY16" fmla="*/ 0 h 10000"/>
                      <a:gd name="connsiteX17" fmla="*/ 5285 w 9772"/>
                      <a:gd name="connsiteY17" fmla="*/ 0 h 10000"/>
                      <a:gd name="connsiteX18" fmla="*/ 3489 w 9772"/>
                      <a:gd name="connsiteY18" fmla="*/ 0 h 10000"/>
                      <a:gd name="connsiteX19" fmla="*/ 2950 w 9772"/>
                      <a:gd name="connsiteY19" fmla="*/ 294 h 10000"/>
                      <a:gd name="connsiteX20" fmla="*/ 2950 w 9772"/>
                      <a:gd name="connsiteY20" fmla="*/ 1176 h 10000"/>
                      <a:gd name="connsiteX21" fmla="*/ 0 w 9772"/>
                      <a:gd name="connsiteY21" fmla="*/ 2347 h 10000"/>
                      <a:gd name="connsiteX0" fmla="*/ 3291 w 10000"/>
                      <a:gd name="connsiteY0" fmla="*/ 8964 h 10000"/>
                      <a:gd name="connsiteX1" fmla="*/ 3386 w 10000"/>
                      <a:gd name="connsiteY1" fmla="*/ 9706 h 10000"/>
                      <a:gd name="connsiteX2" fmla="*/ 3938 w 10000"/>
                      <a:gd name="connsiteY2" fmla="*/ 10000 h 10000"/>
                      <a:gd name="connsiteX3" fmla="*/ 5591 w 10000"/>
                      <a:gd name="connsiteY3" fmla="*/ 9902 h 10000"/>
                      <a:gd name="connsiteX4" fmla="*/ 6142 w 10000"/>
                      <a:gd name="connsiteY4" fmla="*/ 9608 h 10000"/>
                      <a:gd name="connsiteX5" fmla="*/ 6142 w 10000"/>
                      <a:gd name="connsiteY5" fmla="*/ 8725 h 10000"/>
                      <a:gd name="connsiteX6" fmla="*/ 10000 w 10000"/>
                      <a:gd name="connsiteY6" fmla="*/ 6275 h 10000"/>
                      <a:gd name="connsiteX7" fmla="*/ 5959 w 10000"/>
                      <a:gd name="connsiteY7" fmla="*/ 3922 h 10000"/>
                      <a:gd name="connsiteX8" fmla="*/ 3570 w 10000"/>
                      <a:gd name="connsiteY8" fmla="*/ 3235 h 10000"/>
                      <a:gd name="connsiteX9" fmla="*/ 5041 w 10000"/>
                      <a:gd name="connsiteY9" fmla="*/ 2745 h 10000"/>
                      <a:gd name="connsiteX10" fmla="*/ 7796 w 10000"/>
                      <a:gd name="connsiteY10" fmla="*/ 3039 h 10000"/>
                      <a:gd name="connsiteX11" fmla="*/ 8714 w 10000"/>
                      <a:gd name="connsiteY11" fmla="*/ 2843 h 10000"/>
                      <a:gd name="connsiteX12" fmla="*/ 9082 w 10000"/>
                      <a:gd name="connsiteY12" fmla="*/ 1667 h 10000"/>
                      <a:gd name="connsiteX13" fmla="*/ 8714 w 10000"/>
                      <a:gd name="connsiteY13" fmla="*/ 1275 h 10000"/>
                      <a:gd name="connsiteX14" fmla="*/ 5959 w 10000"/>
                      <a:gd name="connsiteY14" fmla="*/ 980 h 10000"/>
                      <a:gd name="connsiteX15" fmla="*/ 5959 w 10000"/>
                      <a:gd name="connsiteY15" fmla="*/ 294 h 10000"/>
                      <a:gd name="connsiteX16" fmla="*/ 5408 w 10000"/>
                      <a:gd name="connsiteY16" fmla="*/ 0 h 10000"/>
                      <a:gd name="connsiteX17" fmla="*/ 5408 w 10000"/>
                      <a:gd name="connsiteY17" fmla="*/ 0 h 10000"/>
                      <a:gd name="connsiteX18" fmla="*/ 3570 w 10000"/>
                      <a:gd name="connsiteY18" fmla="*/ 0 h 10000"/>
                      <a:gd name="connsiteX19" fmla="*/ 3019 w 10000"/>
                      <a:gd name="connsiteY19" fmla="*/ 294 h 10000"/>
                      <a:gd name="connsiteX20" fmla="*/ 3019 w 10000"/>
                      <a:gd name="connsiteY20" fmla="*/ 1176 h 10000"/>
                      <a:gd name="connsiteX21" fmla="*/ 0 w 10000"/>
                      <a:gd name="connsiteY21" fmla="*/ 234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000">
                        <a:moveTo>
                          <a:pt x="3291" y="8964"/>
                        </a:moveTo>
                        <a:cubicBezTo>
                          <a:pt x="3323" y="9258"/>
                          <a:pt x="3279" y="9533"/>
                          <a:pt x="3386" y="9706"/>
                        </a:cubicBezTo>
                        <a:cubicBezTo>
                          <a:pt x="3494" y="9879"/>
                          <a:pt x="3570" y="10000"/>
                          <a:pt x="3938" y="10000"/>
                        </a:cubicBezTo>
                        <a:lnTo>
                          <a:pt x="5591" y="9902"/>
                        </a:lnTo>
                        <a:cubicBezTo>
                          <a:pt x="5959" y="9902"/>
                          <a:pt x="6157" y="9849"/>
                          <a:pt x="6142" y="9608"/>
                        </a:cubicBezTo>
                        <a:lnTo>
                          <a:pt x="6142" y="8725"/>
                        </a:lnTo>
                        <a:cubicBezTo>
                          <a:pt x="8530" y="8431"/>
                          <a:pt x="10000" y="7451"/>
                          <a:pt x="10000" y="6275"/>
                        </a:cubicBezTo>
                        <a:cubicBezTo>
                          <a:pt x="10000" y="5196"/>
                          <a:pt x="8714" y="4412"/>
                          <a:pt x="5959" y="3922"/>
                        </a:cubicBezTo>
                        <a:cubicBezTo>
                          <a:pt x="4305" y="3627"/>
                          <a:pt x="3570" y="3431"/>
                          <a:pt x="3570" y="3235"/>
                        </a:cubicBezTo>
                        <a:cubicBezTo>
                          <a:pt x="3570" y="2745"/>
                          <a:pt x="4489" y="2745"/>
                          <a:pt x="5041" y="2745"/>
                        </a:cubicBezTo>
                        <a:cubicBezTo>
                          <a:pt x="6327" y="2745"/>
                          <a:pt x="7241" y="2853"/>
                          <a:pt x="7796" y="3039"/>
                        </a:cubicBezTo>
                        <a:cubicBezTo>
                          <a:pt x="8187" y="3170"/>
                          <a:pt x="8652" y="3039"/>
                          <a:pt x="8714" y="2843"/>
                        </a:cubicBezTo>
                        <a:cubicBezTo>
                          <a:pt x="8836" y="2451"/>
                          <a:pt x="9012" y="1840"/>
                          <a:pt x="9082" y="1667"/>
                        </a:cubicBezTo>
                        <a:cubicBezTo>
                          <a:pt x="9152" y="1494"/>
                          <a:pt x="9082" y="1373"/>
                          <a:pt x="8714" y="1275"/>
                        </a:cubicBezTo>
                        <a:cubicBezTo>
                          <a:pt x="7979" y="1078"/>
                          <a:pt x="7061" y="980"/>
                          <a:pt x="5959" y="980"/>
                        </a:cubicBezTo>
                        <a:lnTo>
                          <a:pt x="5959" y="294"/>
                        </a:lnTo>
                        <a:cubicBezTo>
                          <a:pt x="5959" y="98"/>
                          <a:pt x="5591" y="0"/>
                          <a:pt x="5408" y="0"/>
                        </a:cubicBezTo>
                        <a:lnTo>
                          <a:pt x="5408" y="0"/>
                        </a:lnTo>
                        <a:lnTo>
                          <a:pt x="3570" y="0"/>
                        </a:lnTo>
                        <a:cubicBezTo>
                          <a:pt x="3203" y="0"/>
                          <a:pt x="3019" y="98"/>
                          <a:pt x="3019" y="294"/>
                        </a:cubicBezTo>
                        <a:lnTo>
                          <a:pt x="3019" y="1176"/>
                        </a:lnTo>
                        <a:cubicBezTo>
                          <a:pt x="1044" y="1368"/>
                          <a:pt x="330" y="1951"/>
                          <a:pt x="0" y="234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grpSp>
          </p:grpSp>
        </p:grpSp>
      </p:grpSp>
      <p:sp>
        <p:nvSpPr>
          <p:cNvPr id="77" name="ZoneTexte 47"/>
          <p:cNvSpPr txBox="1"/>
          <p:nvPr/>
        </p:nvSpPr>
        <p:spPr>
          <a:xfrm>
            <a:off x="4817528" y="1529239"/>
            <a:ext cx="4973731" cy="4216539"/>
          </a:xfrm>
          <a:prstGeom prst="rect">
            <a:avLst/>
          </a:prstGeom>
          <a:noFill/>
        </p:spPr>
        <p:txBody>
          <a:bodyPr wrap="square" rtlCol="0">
            <a:spAutoFit/>
          </a:bodyPr>
          <a:lstStyle/>
          <a:p>
            <a:pPr defTabSz="957756">
              <a:buClr>
                <a:srgbClr val="538F51"/>
              </a:buClr>
            </a:pPr>
            <a:endParaRPr lang="en-US" sz="1400" b="1" dirty="0">
              <a:solidFill>
                <a:srgbClr val="538F51"/>
              </a:solidFill>
            </a:endParaRPr>
          </a:p>
          <a:p>
            <a:pPr marL="342900" lvl="0" indent="-342900" defTabSz="957756">
              <a:buClr>
                <a:srgbClr val="FF0000"/>
              </a:buClr>
              <a:buFont typeface="Arial" panose="020B0604020202020204" pitchFamily="34" charset="0"/>
              <a:buChar char="→"/>
            </a:pPr>
            <a:r>
              <a:rPr lang="en-US" sz="1600" b="1" dirty="0" smtClean="0">
                <a:solidFill>
                  <a:srgbClr val="FF6600"/>
                </a:solidFill>
                <a:latin typeface="Arial"/>
              </a:rPr>
              <a:t>Assembly line process</a:t>
            </a:r>
            <a:endParaRPr lang="en-US" sz="1600" b="1" dirty="0">
              <a:solidFill>
                <a:srgbClr val="FF6600"/>
              </a:solidFill>
              <a:latin typeface="Arial"/>
            </a:endParaRPr>
          </a:p>
          <a:p>
            <a:pPr marL="478878" lvl="1" algn="just" defTabSz="957756">
              <a:buClr>
                <a:srgbClr val="538F51"/>
              </a:buClr>
            </a:pPr>
            <a:r>
              <a:rPr lang="en-US" sz="1400" dirty="0" smtClean="0">
                <a:solidFill>
                  <a:srgbClr val="5D5D5D">
                    <a:lumMod val="50000"/>
                  </a:srgbClr>
                </a:solidFill>
                <a:latin typeface="Arial"/>
              </a:rPr>
              <a:t>	</a:t>
            </a:r>
            <a:r>
              <a:rPr lang="en-US" sz="1600" dirty="0"/>
              <a:t>Objectives of Lean is to achieve smooth continuous flow of material through the process.  If there is any flaw, cause inventories and prevent through put from matching customer demand</a:t>
            </a:r>
          </a:p>
          <a:p>
            <a:pPr marL="342900" lvl="0" indent="-342900" defTabSz="957756">
              <a:buClr>
                <a:srgbClr val="538F51"/>
              </a:buClr>
              <a:buFont typeface="Arial" panose="020B0604020202020204" pitchFamily="34" charset="0"/>
              <a:buChar char="→"/>
            </a:pPr>
            <a:endParaRPr lang="en-US" sz="1600" dirty="0">
              <a:solidFill>
                <a:srgbClr val="5D5D5D">
                  <a:lumMod val="50000"/>
                </a:srgbClr>
              </a:solidFill>
              <a:latin typeface="Arial"/>
            </a:endParaRPr>
          </a:p>
          <a:p>
            <a:pPr marL="285750" lvl="0" indent="-285750" defTabSz="957756">
              <a:buClr>
                <a:srgbClr val="FF0000"/>
              </a:buClr>
              <a:buFont typeface="Arial" panose="020B0604020202020204" pitchFamily="34" charset="0"/>
              <a:buChar char="→"/>
            </a:pPr>
            <a:r>
              <a:rPr lang="en-US" sz="1600" b="1" dirty="0" smtClean="0">
                <a:solidFill>
                  <a:srgbClr val="FF6600"/>
                </a:solidFill>
                <a:latin typeface="Arial"/>
              </a:rPr>
              <a:t>Worker </a:t>
            </a:r>
            <a:r>
              <a:rPr lang="en-US" sz="1600" dirty="0" smtClean="0"/>
              <a:t>used </a:t>
            </a:r>
            <a:r>
              <a:rPr lang="en-US" sz="1600" dirty="0"/>
              <a:t>to work at one- or two-person work stations and perform repetitive tasks, now teams of workers can follow a job down the assembly line </a:t>
            </a:r>
            <a:endParaRPr lang="en-US" sz="1400" dirty="0" smtClean="0">
              <a:solidFill>
                <a:srgbClr val="5D5D5D">
                  <a:lumMod val="50000"/>
                </a:srgbClr>
              </a:solidFill>
              <a:latin typeface="Arial"/>
            </a:endParaRPr>
          </a:p>
          <a:p>
            <a:pPr marL="478878" lvl="1" defTabSz="957756">
              <a:buClr>
                <a:srgbClr val="538F51"/>
              </a:buClr>
            </a:pPr>
            <a:endParaRPr lang="en-US" sz="1400" dirty="0" smtClean="0">
              <a:solidFill>
                <a:srgbClr val="5D5D5D">
                  <a:lumMod val="50000"/>
                </a:srgbClr>
              </a:solidFill>
              <a:latin typeface="Arial"/>
            </a:endParaRPr>
          </a:p>
          <a:p>
            <a:pPr marL="478878" lvl="1" defTabSz="957756">
              <a:buClr>
                <a:srgbClr val="538F51"/>
              </a:buClr>
            </a:pPr>
            <a:endParaRPr lang="en-US" sz="1600" dirty="0"/>
          </a:p>
          <a:p>
            <a:pPr marL="285750" lvl="0" indent="-285750" defTabSz="957756">
              <a:buClr>
                <a:srgbClr val="FFC000"/>
              </a:buClr>
              <a:buFont typeface="Arial" panose="020B0604020202020204" pitchFamily="34" charset="0"/>
              <a:buChar char="→"/>
            </a:pPr>
            <a:r>
              <a:rPr lang="en-US" sz="1600" b="1" dirty="0" smtClean="0">
                <a:solidFill>
                  <a:srgbClr val="FFC000"/>
                </a:solidFill>
                <a:latin typeface="Arial"/>
              </a:rPr>
              <a:t>Efficiency </a:t>
            </a:r>
            <a:r>
              <a:rPr lang="en-US" sz="1600" dirty="0" smtClean="0"/>
              <a:t>Assembly line methods were introduced to increase factory productivity and efficiency.</a:t>
            </a:r>
            <a:endParaRPr lang="en-US" sz="1600" b="1" dirty="0">
              <a:solidFill>
                <a:srgbClr val="5D5D5D">
                  <a:lumMod val="50000"/>
                </a:srgbClr>
              </a:solidFill>
              <a:latin typeface="Arial"/>
            </a:endParaRPr>
          </a:p>
        </p:txBody>
      </p:sp>
      <p:grpSp>
        <p:nvGrpSpPr>
          <p:cNvPr id="91" name="Groupe 61"/>
          <p:cNvGrpSpPr/>
          <p:nvPr/>
        </p:nvGrpSpPr>
        <p:grpSpPr>
          <a:xfrm>
            <a:off x="10009639" y="5048996"/>
            <a:ext cx="1044000" cy="1044000"/>
            <a:chOff x="8772537" y="3569099"/>
            <a:chExt cx="1044000" cy="1044000"/>
          </a:xfrm>
        </p:grpSpPr>
        <p:sp>
          <p:nvSpPr>
            <p:cNvPr id="92" name="Ellipse 62"/>
            <p:cNvSpPr/>
            <p:nvPr/>
          </p:nvSpPr>
          <p:spPr bwMode="auto">
            <a:xfrm>
              <a:off x="8772537" y="3569099"/>
              <a:ext cx="1044000" cy="1044000"/>
            </a:xfrm>
            <a:prstGeom prst="ellipse">
              <a:avLst/>
            </a:prstGeom>
            <a:solidFill>
              <a:schemeClr val="bg1">
                <a:alpha val="7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93" name="Groupe 63"/>
            <p:cNvGrpSpPr/>
            <p:nvPr/>
          </p:nvGrpSpPr>
          <p:grpSpPr>
            <a:xfrm>
              <a:off x="8818979" y="3600504"/>
              <a:ext cx="951117" cy="981191"/>
              <a:chOff x="6493435" y="4888821"/>
              <a:chExt cx="951117" cy="981191"/>
            </a:xfrm>
          </p:grpSpPr>
          <p:sp>
            <p:nvSpPr>
              <p:cNvPr id="94" name="Forme libre : forme 50"/>
              <p:cNvSpPr>
                <a:spLocks noChangeAspect="1"/>
              </p:cNvSpPr>
              <p:nvPr/>
            </p:nvSpPr>
            <p:spPr bwMode="auto">
              <a:xfrm>
                <a:off x="6493435" y="4888821"/>
                <a:ext cx="951117" cy="981191"/>
              </a:xfrm>
              <a:custGeom>
                <a:avLst/>
                <a:gdLst>
                  <a:gd name="connsiteX0" fmla="*/ 490941 w 951117"/>
                  <a:gd name="connsiteY0" fmla="*/ 866391 h 981191"/>
                  <a:gd name="connsiteX1" fmla="*/ 500246 w 951117"/>
                  <a:gd name="connsiteY1" fmla="*/ 966340 h 981191"/>
                  <a:gd name="connsiteX2" fmla="*/ 556057 w 951117"/>
                  <a:gd name="connsiteY2" fmla="*/ 961145 h 981191"/>
                  <a:gd name="connsiteX3" fmla="*/ 557302 w 951117"/>
                  <a:gd name="connsiteY3" fmla="*/ 974518 h 981191"/>
                  <a:gd name="connsiteX4" fmla="*/ 486495 w 951117"/>
                  <a:gd name="connsiteY4" fmla="*/ 981109 h 981191"/>
                  <a:gd name="connsiteX5" fmla="*/ 475945 w 951117"/>
                  <a:gd name="connsiteY5" fmla="*/ 867787 h 981191"/>
                  <a:gd name="connsiteX6" fmla="*/ 404878 w 951117"/>
                  <a:gd name="connsiteY6" fmla="*/ 860074 h 981191"/>
                  <a:gd name="connsiteX7" fmla="*/ 419843 w 951117"/>
                  <a:gd name="connsiteY7" fmla="*/ 861776 h 981191"/>
                  <a:gd name="connsiteX8" fmla="*/ 408504 w 951117"/>
                  <a:gd name="connsiteY8" fmla="*/ 961515 h 981191"/>
                  <a:gd name="connsiteX9" fmla="*/ 464198 w 951117"/>
                  <a:gd name="connsiteY9" fmla="*/ 967846 h 981191"/>
                  <a:gd name="connsiteX10" fmla="*/ 462681 w 951117"/>
                  <a:gd name="connsiteY10" fmla="*/ 981191 h 981191"/>
                  <a:gd name="connsiteX11" fmla="*/ 392022 w 951117"/>
                  <a:gd name="connsiteY11" fmla="*/ 973158 h 981191"/>
                  <a:gd name="connsiteX12" fmla="*/ 625183 w 951117"/>
                  <a:gd name="connsiteY12" fmla="*/ 836004 h 981191"/>
                  <a:gd name="connsiteX13" fmla="*/ 629371 w 951117"/>
                  <a:gd name="connsiteY13" fmla="*/ 848765 h 981191"/>
                  <a:gd name="connsiteX14" fmla="*/ 565493 w 951117"/>
                  <a:gd name="connsiteY14" fmla="*/ 869731 h 981191"/>
                  <a:gd name="connsiteX15" fmla="*/ 576363 w 951117"/>
                  <a:gd name="connsiteY15" fmla="*/ 902851 h 981191"/>
                  <a:gd name="connsiteX16" fmla="*/ 636185 w 951117"/>
                  <a:gd name="connsiteY16" fmla="*/ 883216 h 981191"/>
                  <a:gd name="connsiteX17" fmla="*/ 640349 w 951117"/>
                  <a:gd name="connsiteY17" fmla="*/ 895904 h 981191"/>
                  <a:gd name="connsiteX18" fmla="*/ 580527 w 951117"/>
                  <a:gd name="connsiteY18" fmla="*/ 915538 h 981191"/>
                  <a:gd name="connsiteX19" fmla="*/ 592608 w 951117"/>
                  <a:gd name="connsiteY19" fmla="*/ 952346 h 981191"/>
                  <a:gd name="connsiteX20" fmla="*/ 658995 w 951117"/>
                  <a:gd name="connsiteY20" fmla="*/ 930557 h 981191"/>
                  <a:gd name="connsiteX21" fmla="*/ 663183 w 951117"/>
                  <a:gd name="connsiteY21" fmla="*/ 943318 h 981191"/>
                  <a:gd name="connsiteX22" fmla="*/ 582487 w 951117"/>
                  <a:gd name="connsiteY22" fmla="*/ 969804 h 981191"/>
                  <a:gd name="connsiteX23" fmla="*/ 546994 w 951117"/>
                  <a:gd name="connsiteY23" fmla="*/ 861667 h 981191"/>
                  <a:gd name="connsiteX24" fmla="*/ 322814 w 951117"/>
                  <a:gd name="connsiteY24" fmla="*/ 832431 h 981191"/>
                  <a:gd name="connsiteX25" fmla="*/ 400432 w 951117"/>
                  <a:gd name="connsiteY25" fmla="*/ 859772 h 981191"/>
                  <a:gd name="connsiteX26" fmla="*/ 395970 w 951117"/>
                  <a:gd name="connsiteY26" fmla="*/ 872440 h 981191"/>
                  <a:gd name="connsiteX27" fmla="*/ 332558 w 951117"/>
                  <a:gd name="connsiteY27" fmla="*/ 850102 h 981191"/>
                  <a:gd name="connsiteX28" fmla="*/ 320976 w 951117"/>
                  <a:gd name="connsiteY28" fmla="*/ 882980 h 981191"/>
                  <a:gd name="connsiteX29" fmla="*/ 380361 w 951117"/>
                  <a:gd name="connsiteY29" fmla="*/ 903899 h 981191"/>
                  <a:gd name="connsiteX30" fmla="*/ 375925 w 951117"/>
                  <a:gd name="connsiteY30" fmla="*/ 916494 h 981191"/>
                  <a:gd name="connsiteX31" fmla="*/ 316540 w 951117"/>
                  <a:gd name="connsiteY31" fmla="*/ 895575 h 981191"/>
                  <a:gd name="connsiteX32" fmla="*/ 303668 w 951117"/>
                  <a:gd name="connsiteY32" fmla="*/ 932114 h 981191"/>
                  <a:gd name="connsiteX33" fmla="*/ 369570 w 951117"/>
                  <a:gd name="connsiteY33" fmla="*/ 955328 h 981191"/>
                  <a:gd name="connsiteX34" fmla="*/ 365108 w 951117"/>
                  <a:gd name="connsiteY34" fmla="*/ 967996 h 981191"/>
                  <a:gd name="connsiteX35" fmla="*/ 285001 w 951117"/>
                  <a:gd name="connsiteY35" fmla="*/ 939778 h 981191"/>
                  <a:gd name="connsiteX36" fmla="*/ 259362 w 951117"/>
                  <a:gd name="connsiteY36" fmla="*/ 796517 h 981191"/>
                  <a:gd name="connsiteX37" fmla="*/ 286088 w 951117"/>
                  <a:gd name="connsiteY37" fmla="*/ 806244 h 981191"/>
                  <a:gd name="connsiteX38" fmla="*/ 305048 w 951117"/>
                  <a:gd name="connsiteY38" fmla="*/ 829508 h 981191"/>
                  <a:gd name="connsiteX39" fmla="*/ 304836 w 951117"/>
                  <a:gd name="connsiteY39" fmla="*/ 858856 h 981191"/>
                  <a:gd name="connsiteX40" fmla="*/ 290587 w 951117"/>
                  <a:gd name="connsiteY40" fmla="*/ 853465 h 981191"/>
                  <a:gd name="connsiteX41" fmla="*/ 291169 w 951117"/>
                  <a:gd name="connsiteY41" fmla="*/ 832044 h 981191"/>
                  <a:gd name="connsiteX42" fmla="*/ 278628 w 951117"/>
                  <a:gd name="connsiteY42" fmla="*/ 816757 h 981191"/>
                  <a:gd name="connsiteX43" fmla="*/ 256927 w 951117"/>
                  <a:gd name="connsiteY43" fmla="*/ 809715 h 981191"/>
                  <a:gd name="connsiteX44" fmla="*/ 237221 w 951117"/>
                  <a:gd name="connsiteY44" fmla="*/ 816796 h 981191"/>
                  <a:gd name="connsiteX45" fmla="*/ 222046 w 951117"/>
                  <a:gd name="connsiteY45" fmla="*/ 832923 h 981191"/>
                  <a:gd name="connsiteX46" fmla="*/ 211388 w 951117"/>
                  <a:gd name="connsiteY46" fmla="*/ 856307 h 981191"/>
                  <a:gd name="connsiteX47" fmla="*/ 213254 w 951117"/>
                  <a:gd name="connsiteY47" fmla="*/ 877084 h 981191"/>
                  <a:gd name="connsiteX48" fmla="*/ 226290 w 951117"/>
                  <a:gd name="connsiteY48" fmla="*/ 892330 h 981191"/>
                  <a:gd name="connsiteX49" fmla="*/ 248137 w 951117"/>
                  <a:gd name="connsiteY49" fmla="*/ 898254 h 981191"/>
                  <a:gd name="connsiteX50" fmla="*/ 270092 w 951117"/>
                  <a:gd name="connsiteY50" fmla="*/ 886931 h 981191"/>
                  <a:gd name="connsiteX51" fmla="*/ 280455 w 951117"/>
                  <a:gd name="connsiteY51" fmla="*/ 898503 h 981191"/>
                  <a:gd name="connsiteX52" fmla="*/ 250509 w 951117"/>
                  <a:gd name="connsiteY52" fmla="*/ 912445 h 981191"/>
                  <a:gd name="connsiteX53" fmla="*/ 220117 w 951117"/>
                  <a:gd name="connsiteY53" fmla="*/ 903711 h 981191"/>
                  <a:gd name="connsiteX54" fmla="*/ 199487 w 951117"/>
                  <a:gd name="connsiteY54" fmla="*/ 880772 h 981191"/>
                  <a:gd name="connsiteX55" fmla="*/ 197064 w 951117"/>
                  <a:gd name="connsiteY55" fmla="*/ 852973 h 981191"/>
                  <a:gd name="connsiteX56" fmla="*/ 209127 w 951117"/>
                  <a:gd name="connsiteY56" fmla="*/ 824309 h 981191"/>
                  <a:gd name="connsiteX57" fmla="*/ 232094 w 951117"/>
                  <a:gd name="connsiteY57" fmla="*/ 802387 h 981191"/>
                  <a:gd name="connsiteX58" fmla="*/ 259362 w 951117"/>
                  <a:gd name="connsiteY58" fmla="*/ 796517 h 981191"/>
                  <a:gd name="connsiteX59" fmla="*/ 703145 w 951117"/>
                  <a:gd name="connsiteY59" fmla="*/ 787047 h 981191"/>
                  <a:gd name="connsiteX60" fmla="*/ 764853 w 951117"/>
                  <a:gd name="connsiteY60" fmla="*/ 882678 h 981191"/>
                  <a:gd name="connsiteX61" fmla="*/ 751872 w 951117"/>
                  <a:gd name="connsiteY61" fmla="*/ 891055 h 981191"/>
                  <a:gd name="connsiteX62" fmla="*/ 653151 w 951117"/>
                  <a:gd name="connsiteY62" fmla="*/ 848319 h 981191"/>
                  <a:gd name="connsiteX63" fmla="*/ 701643 w 951117"/>
                  <a:gd name="connsiteY63" fmla="*/ 923466 h 981191"/>
                  <a:gd name="connsiteX64" fmla="*/ 689510 w 951117"/>
                  <a:gd name="connsiteY64" fmla="*/ 931296 h 981191"/>
                  <a:gd name="connsiteX65" fmla="*/ 627801 w 951117"/>
                  <a:gd name="connsiteY65" fmla="*/ 835665 h 981191"/>
                  <a:gd name="connsiteX66" fmla="*/ 640782 w 951117"/>
                  <a:gd name="connsiteY66" fmla="*/ 827288 h 981191"/>
                  <a:gd name="connsiteX67" fmla="*/ 739461 w 951117"/>
                  <a:gd name="connsiteY67" fmla="*/ 869959 h 981191"/>
                  <a:gd name="connsiteX68" fmla="*/ 691011 w 951117"/>
                  <a:gd name="connsiteY68" fmla="*/ 794876 h 981191"/>
                  <a:gd name="connsiteX69" fmla="*/ 763590 w 951117"/>
                  <a:gd name="connsiteY69" fmla="*/ 731361 h 981191"/>
                  <a:gd name="connsiteX70" fmla="*/ 792625 w 951117"/>
                  <a:gd name="connsiteY70" fmla="*/ 735635 h 981191"/>
                  <a:gd name="connsiteX71" fmla="*/ 785314 w 951117"/>
                  <a:gd name="connsiteY71" fmla="*/ 749000 h 981191"/>
                  <a:gd name="connsiteX72" fmla="*/ 764179 w 951117"/>
                  <a:gd name="connsiteY72" fmla="*/ 745458 h 981191"/>
                  <a:gd name="connsiteX73" fmla="*/ 747303 w 951117"/>
                  <a:gd name="connsiteY73" fmla="*/ 755762 h 981191"/>
                  <a:gd name="connsiteX74" fmla="*/ 737324 w 951117"/>
                  <a:gd name="connsiteY74" fmla="*/ 776279 h 981191"/>
                  <a:gd name="connsiteX75" fmla="*/ 741609 w 951117"/>
                  <a:gd name="connsiteY75" fmla="*/ 796775 h 981191"/>
                  <a:gd name="connsiteX76" fmla="*/ 755479 w 951117"/>
                  <a:gd name="connsiteY76" fmla="*/ 814037 h 981191"/>
                  <a:gd name="connsiteX77" fmla="*/ 777162 w 951117"/>
                  <a:gd name="connsiteY77" fmla="*/ 827830 h 981191"/>
                  <a:gd name="connsiteX78" fmla="*/ 797997 w 951117"/>
                  <a:gd name="connsiteY78" fmla="*/ 828859 h 981191"/>
                  <a:gd name="connsiteX79" fmla="*/ 814901 w 951117"/>
                  <a:gd name="connsiteY79" fmla="*/ 818060 h 981191"/>
                  <a:gd name="connsiteX80" fmla="*/ 823793 w 951117"/>
                  <a:gd name="connsiteY80" fmla="*/ 797243 h 981191"/>
                  <a:gd name="connsiteX81" fmla="*/ 815619 w 951117"/>
                  <a:gd name="connsiteY81" fmla="*/ 773932 h 981191"/>
                  <a:gd name="connsiteX82" fmla="*/ 828514 w 951117"/>
                  <a:gd name="connsiteY82" fmla="*/ 765271 h 981191"/>
                  <a:gd name="connsiteX83" fmla="*/ 838176 w 951117"/>
                  <a:gd name="connsiteY83" fmla="*/ 796859 h 981191"/>
                  <a:gd name="connsiteX84" fmla="*/ 825318 w 951117"/>
                  <a:gd name="connsiteY84" fmla="*/ 825749 h 981191"/>
                  <a:gd name="connsiteX85" fmla="*/ 799743 w 951117"/>
                  <a:gd name="connsiteY85" fmla="*/ 843004 h 981191"/>
                  <a:gd name="connsiteX86" fmla="*/ 771876 w 951117"/>
                  <a:gd name="connsiteY86" fmla="*/ 841554 h 981191"/>
                  <a:gd name="connsiteX87" fmla="*/ 745159 w 951117"/>
                  <a:gd name="connsiteY87" fmla="*/ 825639 h 981191"/>
                  <a:gd name="connsiteX88" fmla="*/ 726628 w 951117"/>
                  <a:gd name="connsiteY88" fmla="*/ 799858 h 981191"/>
                  <a:gd name="connsiteX89" fmla="*/ 724590 w 951117"/>
                  <a:gd name="connsiteY89" fmla="*/ 772040 h 981191"/>
                  <a:gd name="connsiteX90" fmla="*/ 737924 w 951117"/>
                  <a:gd name="connsiteY90" fmla="*/ 746918 h 981191"/>
                  <a:gd name="connsiteX91" fmla="*/ 763590 w 951117"/>
                  <a:gd name="connsiteY91" fmla="*/ 731361 h 981191"/>
                  <a:gd name="connsiteX92" fmla="*/ 149601 w 951117"/>
                  <a:gd name="connsiteY92" fmla="*/ 641826 h 981191"/>
                  <a:gd name="connsiteX93" fmla="*/ 187243 w 951117"/>
                  <a:gd name="connsiteY93" fmla="*/ 715005 h 981191"/>
                  <a:gd name="connsiteX94" fmla="*/ 187160 w 951117"/>
                  <a:gd name="connsiteY94" fmla="*/ 715048 h 981191"/>
                  <a:gd name="connsiteX95" fmla="*/ 197038 w 951117"/>
                  <a:gd name="connsiteY95" fmla="*/ 726259 h 981191"/>
                  <a:gd name="connsiteX96" fmla="*/ 188789 w 951117"/>
                  <a:gd name="connsiteY96" fmla="*/ 761051 h 981191"/>
                  <a:gd name="connsiteX97" fmla="*/ 184361 w 951117"/>
                  <a:gd name="connsiteY97" fmla="*/ 777163 h 981191"/>
                  <a:gd name="connsiteX98" fmla="*/ 200042 w 951117"/>
                  <a:gd name="connsiteY98" fmla="*/ 775348 h 981191"/>
                  <a:gd name="connsiteX99" fmla="*/ 237841 w 951117"/>
                  <a:gd name="connsiteY99" fmla="*/ 772567 h 981191"/>
                  <a:gd name="connsiteX100" fmla="*/ 248671 w 951117"/>
                  <a:gd name="connsiteY100" fmla="*/ 784857 h 981191"/>
                  <a:gd name="connsiteX101" fmla="*/ 181989 w 951117"/>
                  <a:gd name="connsiteY101" fmla="*/ 790324 h 981191"/>
                  <a:gd name="connsiteX102" fmla="*/ 165331 w 951117"/>
                  <a:gd name="connsiteY102" fmla="*/ 862429 h 981191"/>
                  <a:gd name="connsiteX103" fmla="*/ 153013 w 951117"/>
                  <a:gd name="connsiteY103" fmla="*/ 848449 h 981191"/>
                  <a:gd name="connsiteX104" fmla="*/ 164538 w 951117"/>
                  <a:gd name="connsiteY104" fmla="*/ 800112 h 981191"/>
                  <a:gd name="connsiteX105" fmla="*/ 166962 w 951117"/>
                  <a:gd name="connsiteY105" fmla="*/ 791355 h 981191"/>
                  <a:gd name="connsiteX106" fmla="*/ 156962 w 951117"/>
                  <a:gd name="connsiteY106" fmla="*/ 792923 h 981191"/>
                  <a:gd name="connsiteX107" fmla="*/ 108309 w 951117"/>
                  <a:gd name="connsiteY107" fmla="*/ 797714 h 981191"/>
                  <a:gd name="connsiteX108" fmla="*/ 96351 w 951117"/>
                  <a:gd name="connsiteY108" fmla="*/ 784142 h 981191"/>
                  <a:gd name="connsiteX109" fmla="*/ 169954 w 951117"/>
                  <a:gd name="connsiteY109" fmla="*/ 777957 h 981191"/>
                  <a:gd name="connsiteX110" fmla="*/ 184316 w 951117"/>
                  <a:gd name="connsiteY110" fmla="*/ 716511 h 981191"/>
                  <a:gd name="connsiteX111" fmla="*/ 175300 w 951117"/>
                  <a:gd name="connsiteY111" fmla="*/ 721148 h 981191"/>
                  <a:gd name="connsiteX112" fmla="*/ 144547 w 951117"/>
                  <a:gd name="connsiteY112" fmla="*/ 661363 h 981191"/>
                  <a:gd name="connsiteX113" fmla="*/ 113549 w 951117"/>
                  <a:gd name="connsiteY113" fmla="*/ 677307 h 981191"/>
                  <a:gd name="connsiteX114" fmla="*/ 142349 w 951117"/>
                  <a:gd name="connsiteY114" fmla="*/ 733296 h 981191"/>
                  <a:gd name="connsiteX115" fmla="*/ 130475 w 951117"/>
                  <a:gd name="connsiteY115" fmla="*/ 739404 h 981191"/>
                  <a:gd name="connsiteX116" fmla="*/ 101675 w 951117"/>
                  <a:gd name="connsiteY116" fmla="*/ 683415 h 981191"/>
                  <a:gd name="connsiteX117" fmla="*/ 67226 w 951117"/>
                  <a:gd name="connsiteY117" fmla="*/ 701136 h 981191"/>
                  <a:gd name="connsiteX118" fmla="*/ 99186 w 951117"/>
                  <a:gd name="connsiteY118" fmla="*/ 763269 h 981191"/>
                  <a:gd name="connsiteX119" fmla="*/ 87243 w 951117"/>
                  <a:gd name="connsiteY119" fmla="*/ 769412 h 981191"/>
                  <a:gd name="connsiteX120" fmla="*/ 48393 w 951117"/>
                  <a:gd name="connsiteY120" fmla="*/ 693886 h 981191"/>
                  <a:gd name="connsiteX121" fmla="*/ 806594 w 951117"/>
                  <a:gd name="connsiteY121" fmla="*/ 641123 h 981191"/>
                  <a:gd name="connsiteX122" fmla="*/ 818531 w 951117"/>
                  <a:gd name="connsiteY122" fmla="*/ 647279 h 981191"/>
                  <a:gd name="connsiteX123" fmla="*/ 787714 w 951117"/>
                  <a:gd name="connsiteY123" fmla="*/ 707032 h 981191"/>
                  <a:gd name="connsiteX124" fmla="*/ 818695 w 951117"/>
                  <a:gd name="connsiteY124" fmla="*/ 723010 h 981191"/>
                  <a:gd name="connsiteX125" fmla="*/ 847554 w 951117"/>
                  <a:gd name="connsiteY125" fmla="*/ 667052 h 981191"/>
                  <a:gd name="connsiteX126" fmla="*/ 859422 w 951117"/>
                  <a:gd name="connsiteY126" fmla="*/ 673172 h 981191"/>
                  <a:gd name="connsiteX127" fmla="*/ 830562 w 951117"/>
                  <a:gd name="connsiteY127" fmla="*/ 729130 h 981191"/>
                  <a:gd name="connsiteX128" fmla="*/ 864993 w 951117"/>
                  <a:gd name="connsiteY128" fmla="*/ 746887 h 981191"/>
                  <a:gd name="connsiteX129" fmla="*/ 897019 w 951117"/>
                  <a:gd name="connsiteY129" fmla="*/ 684788 h 981191"/>
                  <a:gd name="connsiteX130" fmla="*/ 908956 w 951117"/>
                  <a:gd name="connsiteY130" fmla="*/ 690944 h 981191"/>
                  <a:gd name="connsiteX131" fmla="*/ 870026 w 951117"/>
                  <a:gd name="connsiteY131" fmla="*/ 766429 h 981191"/>
                  <a:gd name="connsiteX132" fmla="*/ 768874 w 951117"/>
                  <a:gd name="connsiteY132" fmla="*/ 714262 h 981191"/>
                  <a:gd name="connsiteX133" fmla="*/ 945570 w 951117"/>
                  <a:gd name="connsiteY133" fmla="*/ 299154 h 981191"/>
                  <a:gd name="connsiteX134" fmla="*/ 951117 w 951117"/>
                  <a:gd name="connsiteY134" fmla="*/ 313157 h 981191"/>
                  <a:gd name="connsiteX135" fmla="*/ 857792 w 951117"/>
                  <a:gd name="connsiteY135" fmla="*/ 350127 h 981191"/>
                  <a:gd name="connsiteX136" fmla="*/ 878435 w 951117"/>
                  <a:gd name="connsiteY136" fmla="*/ 402239 h 981191"/>
                  <a:gd name="connsiteX137" fmla="*/ 865949 w 951117"/>
                  <a:gd name="connsiteY137" fmla="*/ 407186 h 981191"/>
                  <a:gd name="connsiteX138" fmla="*/ 839758 w 951117"/>
                  <a:gd name="connsiteY138" fmla="*/ 341071 h 981191"/>
                  <a:gd name="connsiteX139" fmla="*/ 50791 w 951117"/>
                  <a:gd name="connsiteY139" fmla="*/ 290394 h 981191"/>
                  <a:gd name="connsiteX140" fmla="*/ 30533 w 951117"/>
                  <a:gd name="connsiteY140" fmla="*/ 296449 h 981191"/>
                  <a:gd name="connsiteX141" fmla="*/ 17093 w 951117"/>
                  <a:gd name="connsiteY141" fmla="*/ 312700 h 981191"/>
                  <a:gd name="connsiteX142" fmla="*/ 15991 w 951117"/>
                  <a:gd name="connsiteY142" fmla="*/ 342312 h 981191"/>
                  <a:gd name="connsiteX143" fmla="*/ 44861 w 951117"/>
                  <a:gd name="connsiteY143" fmla="*/ 367710 h 981191"/>
                  <a:gd name="connsiteX144" fmla="*/ 78977 w 951117"/>
                  <a:gd name="connsiteY144" fmla="*/ 370722 h 981191"/>
                  <a:gd name="connsiteX145" fmla="*/ 101042 w 951117"/>
                  <a:gd name="connsiteY145" fmla="*/ 350140 h 981191"/>
                  <a:gd name="connsiteX146" fmla="*/ 101446 w 951117"/>
                  <a:gd name="connsiteY146" fmla="*/ 319709 h 981191"/>
                  <a:gd name="connsiteX147" fmla="*/ 74876 w 951117"/>
                  <a:gd name="connsiteY147" fmla="*/ 295925 h 981191"/>
                  <a:gd name="connsiteX148" fmla="*/ 50791 w 951117"/>
                  <a:gd name="connsiteY148" fmla="*/ 290394 h 981191"/>
                  <a:gd name="connsiteX149" fmla="*/ 50615 w 951117"/>
                  <a:gd name="connsiteY149" fmla="*/ 275456 h 981191"/>
                  <a:gd name="connsiteX150" fmla="*/ 81235 w 951117"/>
                  <a:gd name="connsiteY150" fmla="*/ 281760 h 981191"/>
                  <a:gd name="connsiteX151" fmla="*/ 106727 w 951117"/>
                  <a:gd name="connsiteY151" fmla="*/ 300694 h 981191"/>
                  <a:gd name="connsiteX152" fmla="*/ 117626 w 951117"/>
                  <a:gd name="connsiteY152" fmla="*/ 327173 h 981191"/>
                  <a:gd name="connsiteX153" fmla="*/ 112857 w 951117"/>
                  <a:gd name="connsiteY153" fmla="*/ 355289 h 981191"/>
                  <a:gd name="connsiteX154" fmla="*/ 94125 w 951117"/>
                  <a:gd name="connsiteY154" fmla="*/ 378408 h 981191"/>
                  <a:gd name="connsiteX155" fmla="*/ 66981 w 951117"/>
                  <a:gd name="connsiteY155" fmla="*/ 387357 h 981191"/>
                  <a:gd name="connsiteX156" fmla="*/ 38360 w 951117"/>
                  <a:gd name="connsiteY156" fmla="*/ 381812 h 981191"/>
                  <a:gd name="connsiteX157" fmla="*/ 3956 w 951117"/>
                  <a:gd name="connsiteY157" fmla="*/ 349930 h 981191"/>
                  <a:gd name="connsiteX158" fmla="*/ 5208 w 951117"/>
                  <a:gd name="connsiteY158" fmla="*/ 307520 h 981191"/>
                  <a:gd name="connsiteX159" fmla="*/ 23601 w 951117"/>
                  <a:gd name="connsiteY159" fmla="*/ 284590 h 981191"/>
                  <a:gd name="connsiteX160" fmla="*/ 50615 w 951117"/>
                  <a:gd name="connsiteY160" fmla="*/ 275456 h 981191"/>
                  <a:gd name="connsiteX161" fmla="*/ 892716 w 951117"/>
                  <a:gd name="connsiteY161" fmla="*/ 232405 h 981191"/>
                  <a:gd name="connsiteX162" fmla="*/ 871330 w 951117"/>
                  <a:gd name="connsiteY162" fmla="*/ 239670 h 981191"/>
                  <a:gd name="connsiteX163" fmla="*/ 836741 w 951117"/>
                  <a:gd name="connsiteY163" fmla="*/ 248288 h 981191"/>
                  <a:gd name="connsiteX164" fmla="*/ 858606 w 951117"/>
                  <a:gd name="connsiteY164" fmla="*/ 280080 h 981191"/>
                  <a:gd name="connsiteX165" fmla="*/ 877845 w 951117"/>
                  <a:gd name="connsiteY165" fmla="*/ 252431 h 981191"/>
                  <a:gd name="connsiteX166" fmla="*/ 892716 w 951117"/>
                  <a:gd name="connsiteY166" fmla="*/ 232405 h 981191"/>
                  <a:gd name="connsiteX167" fmla="*/ 898167 w 951117"/>
                  <a:gd name="connsiteY167" fmla="*/ 219233 h 981191"/>
                  <a:gd name="connsiteX168" fmla="*/ 907362 w 951117"/>
                  <a:gd name="connsiteY168" fmla="*/ 232602 h 981191"/>
                  <a:gd name="connsiteX169" fmla="*/ 839983 w 951117"/>
                  <a:gd name="connsiteY169" fmla="*/ 335477 h 981191"/>
                  <a:gd name="connsiteX170" fmla="*/ 830261 w 951117"/>
                  <a:gd name="connsiteY170" fmla="*/ 321340 h 981191"/>
                  <a:gd name="connsiteX171" fmla="*/ 851139 w 951117"/>
                  <a:gd name="connsiteY171" fmla="*/ 290869 h 981191"/>
                  <a:gd name="connsiteX172" fmla="*/ 824171 w 951117"/>
                  <a:gd name="connsiteY172" fmla="*/ 251657 h 981191"/>
                  <a:gd name="connsiteX173" fmla="*/ 788687 w 951117"/>
                  <a:gd name="connsiteY173" fmla="*/ 260892 h 981191"/>
                  <a:gd name="connsiteX174" fmla="*/ 779624 w 951117"/>
                  <a:gd name="connsiteY174" fmla="*/ 247715 h 981191"/>
                  <a:gd name="connsiteX175" fmla="*/ 111736 w 951117"/>
                  <a:gd name="connsiteY175" fmla="*/ 184529 h 981191"/>
                  <a:gd name="connsiteX176" fmla="*/ 100520 w 951117"/>
                  <a:gd name="connsiteY176" fmla="*/ 187650 h 981191"/>
                  <a:gd name="connsiteX177" fmla="*/ 90852 w 951117"/>
                  <a:gd name="connsiteY177" fmla="*/ 197897 h 981191"/>
                  <a:gd name="connsiteX178" fmla="*/ 72442 w 951117"/>
                  <a:gd name="connsiteY178" fmla="*/ 220450 h 981191"/>
                  <a:gd name="connsiteX179" fmla="*/ 103955 w 951117"/>
                  <a:gd name="connsiteY179" fmla="*/ 246175 h 981191"/>
                  <a:gd name="connsiteX180" fmla="*/ 122562 w 951117"/>
                  <a:gd name="connsiteY180" fmla="*/ 223382 h 981191"/>
                  <a:gd name="connsiteX181" fmla="*/ 131460 w 951117"/>
                  <a:gd name="connsiteY181" fmla="*/ 203888 h 981191"/>
                  <a:gd name="connsiteX182" fmla="*/ 123491 w 951117"/>
                  <a:gd name="connsiteY182" fmla="*/ 189465 h 981191"/>
                  <a:gd name="connsiteX183" fmla="*/ 111736 w 951117"/>
                  <a:gd name="connsiteY183" fmla="*/ 184529 h 981191"/>
                  <a:gd name="connsiteX184" fmla="*/ 118736 w 951117"/>
                  <a:gd name="connsiteY184" fmla="*/ 170000 h 981191"/>
                  <a:gd name="connsiteX185" fmla="*/ 132949 w 951117"/>
                  <a:gd name="connsiteY185" fmla="*/ 177143 h 981191"/>
                  <a:gd name="connsiteX186" fmla="*/ 146141 w 951117"/>
                  <a:gd name="connsiteY186" fmla="*/ 199838 h 981191"/>
                  <a:gd name="connsiteX187" fmla="*/ 132819 w 951117"/>
                  <a:gd name="connsiteY187" fmla="*/ 232056 h 981191"/>
                  <a:gd name="connsiteX188" fmla="*/ 114360 w 951117"/>
                  <a:gd name="connsiteY188" fmla="*/ 254669 h 981191"/>
                  <a:gd name="connsiteX189" fmla="*/ 150203 w 951117"/>
                  <a:gd name="connsiteY189" fmla="*/ 283929 h 981191"/>
                  <a:gd name="connsiteX190" fmla="*/ 140679 w 951117"/>
                  <a:gd name="connsiteY190" fmla="*/ 295596 h 981191"/>
                  <a:gd name="connsiteX191" fmla="*/ 52513 w 951117"/>
                  <a:gd name="connsiteY191" fmla="*/ 223624 h 981191"/>
                  <a:gd name="connsiteX192" fmla="*/ 79662 w 951117"/>
                  <a:gd name="connsiteY192" fmla="*/ 190366 h 981191"/>
                  <a:gd name="connsiteX193" fmla="*/ 91452 w 951117"/>
                  <a:gd name="connsiteY193" fmla="*/ 177642 h 981191"/>
                  <a:gd name="connsiteX194" fmla="*/ 104458 w 951117"/>
                  <a:gd name="connsiteY194" fmla="*/ 170120 h 981191"/>
                  <a:gd name="connsiteX195" fmla="*/ 118736 w 951117"/>
                  <a:gd name="connsiteY195" fmla="*/ 170000 h 981191"/>
                  <a:gd name="connsiteX196" fmla="*/ 782105 w 951117"/>
                  <a:gd name="connsiteY196" fmla="*/ 99236 h 981191"/>
                  <a:gd name="connsiteX197" fmla="*/ 793793 w 951117"/>
                  <a:gd name="connsiteY197" fmla="*/ 109339 h 981191"/>
                  <a:gd name="connsiteX198" fmla="*/ 780583 w 951117"/>
                  <a:gd name="connsiteY198" fmla="*/ 216034 h 981191"/>
                  <a:gd name="connsiteX199" fmla="*/ 839018 w 951117"/>
                  <a:gd name="connsiteY199" fmla="*/ 148431 h 981191"/>
                  <a:gd name="connsiteX200" fmla="*/ 849943 w 951117"/>
                  <a:gd name="connsiteY200" fmla="*/ 157874 h 981191"/>
                  <a:gd name="connsiteX201" fmla="*/ 775516 w 951117"/>
                  <a:gd name="connsiteY201" fmla="*/ 243978 h 981191"/>
                  <a:gd name="connsiteX202" fmla="*/ 763828 w 951117"/>
                  <a:gd name="connsiteY202" fmla="*/ 233875 h 981191"/>
                  <a:gd name="connsiteX203" fmla="*/ 777088 w 951117"/>
                  <a:gd name="connsiteY203" fmla="*/ 127122 h 981191"/>
                  <a:gd name="connsiteX204" fmla="*/ 718603 w 951117"/>
                  <a:gd name="connsiteY204" fmla="*/ 194783 h 981191"/>
                  <a:gd name="connsiteX205" fmla="*/ 707678 w 951117"/>
                  <a:gd name="connsiteY205" fmla="*/ 185341 h 981191"/>
                  <a:gd name="connsiteX206" fmla="*/ 202860 w 951117"/>
                  <a:gd name="connsiteY206" fmla="*/ 79733 h 981191"/>
                  <a:gd name="connsiteX207" fmla="*/ 210886 w 951117"/>
                  <a:gd name="connsiteY207" fmla="*/ 90501 h 981191"/>
                  <a:gd name="connsiteX208" fmla="*/ 156980 w 951117"/>
                  <a:gd name="connsiteY208" fmla="*/ 130679 h 981191"/>
                  <a:gd name="connsiteX209" fmla="*/ 177812 w 951117"/>
                  <a:gd name="connsiteY209" fmla="*/ 158628 h 981191"/>
                  <a:gd name="connsiteX210" fmla="*/ 228294 w 951117"/>
                  <a:gd name="connsiteY210" fmla="*/ 121002 h 981191"/>
                  <a:gd name="connsiteX211" fmla="*/ 236274 w 951117"/>
                  <a:gd name="connsiteY211" fmla="*/ 131708 h 981191"/>
                  <a:gd name="connsiteX212" fmla="*/ 185792 w 951117"/>
                  <a:gd name="connsiteY212" fmla="*/ 169335 h 981191"/>
                  <a:gd name="connsiteX213" fmla="*/ 208943 w 951117"/>
                  <a:gd name="connsiteY213" fmla="*/ 200396 h 981191"/>
                  <a:gd name="connsiteX214" fmla="*/ 264965 w 951117"/>
                  <a:gd name="connsiteY214" fmla="*/ 158640 h 981191"/>
                  <a:gd name="connsiteX215" fmla="*/ 272991 w 951117"/>
                  <a:gd name="connsiteY215" fmla="*/ 169409 h 981191"/>
                  <a:gd name="connsiteX216" fmla="*/ 204893 w 951117"/>
                  <a:gd name="connsiteY216" fmla="*/ 220165 h 981191"/>
                  <a:gd name="connsiteX217" fmla="*/ 136878 w 951117"/>
                  <a:gd name="connsiteY217" fmla="*/ 128911 h 981191"/>
                  <a:gd name="connsiteX218" fmla="*/ 663874 w 951117"/>
                  <a:gd name="connsiteY218" fmla="*/ 59702 h 981191"/>
                  <a:gd name="connsiteX219" fmla="*/ 637919 w 951117"/>
                  <a:gd name="connsiteY219" fmla="*/ 88071 h 981191"/>
                  <a:gd name="connsiteX220" fmla="*/ 634242 w 951117"/>
                  <a:gd name="connsiteY220" fmla="*/ 122122 h 981191"/>
                  <a:gd name="connsiteX221" fmla="*/ 654390 w 951117"/>
                  <a:gd name="connsiteY221" fmla="*/ 144584 h 981191"/>
                  <a:gd name="connsiteX222" fmla="*/ 684808 w 951117"/>
                  <a:gd name="connsiteY222" fmla="*/ 145581 h 981191"/>
                  <a:gd name="connsiteX223" fmla="*/ 709105 w 951117"/>
                  <a:gd name="connsiteY223" fmla="*/ 119479 h 981191"/>
                  <a:gd name="connsiteX224" fmla="*/ 715104 w 951117"/>
                  <a:gd name="connsiteY224" fmla="*/ 95507 h 981191"/>
                  <a:gd name="connsiteX225" fmla="*/ 709445 w 951117"/>
                  <a:gd name="connsiteY225" fmla="*/ 75134 h 981191"/>
                  <a:gd name="connsiteX226" fmla="*/ 693459 w 951117"/>
                  <a:gd name="connsiteY226" fmla="*/ 61381 h 981191"/>
                  <a:gd name="connsiteX227" fmla="*/ 663874 w 951117"/>
                  <a:gd name="connsiteY227" fmla="*/ 59702 h 981191"/>
                  <a:gd name="connsiteX228" fmla="*/ 313066 w 951117"/>
                  <a:gd name="connsiteY228" fmla="*/ 47313 h 981191"/>
                  <a:gd name="connsiteX229" fmla="*/ 293955 w 951117"/>
                  <a:gd name="connsiteY229" fmla="*/ 49470 h 981191"/>
                  <a:gd name="connsiteX230" fmla="*/ 260586 w 951117"/>
                  <a:gd name="connsiteY230" fmla="*/ 63039 h 981191"/>
                  <a:gd name="connsiteX231" fmla="*/ 274769 w 951117"/>
                  <a:gd name="connsiteY231" fmla="*/ 97918 h 981191"/>
                  <a:gd name="connsiteX232" fmla="*/ 304758 w 951117"/>
                  <a:gd name="connsiteY232" fmla="*/ 85723 h 981191"/>
                  <a:gd name="connsiteX233" fmla="*/ 318913 w 951117"/>
                  <a:gd name="connsiteY233" fmla="*/ 77663 h 981191"/>
                  <a:gd name="connsiteX234" fmla="*/ 324538 w 951117"/>
                  <a:gd name="connsiteY234" fmla="*/ 68000 h 981191"/>
                  <a:gd name="connsiteX235" fmla="*/ 323497 w 951117"/>
                  <a:gd name="connsiteY235" fmla="*/ 57403 h 981191"/>
                  <a:gd name="connsiteX236" fmla="*/ 313066 w 951117"/>
                  <a:gd name="connsiteY236" fmla="*/ 47313 h 981191"/>
                  <a:gd name="connsiteX237" fmla="*/ 677370 w 951117"/>
                  <a:gd name="connsiteY237" fmla="*/ 43992 h 981191"/>
                  <a:gd name="connsiteX238" fmla="*/ 698869 w 951117"/>
                  <a:gd name="connsiteY238" fmla="*/ 49598 h 981191"/>
                  <a:gd name="connsiteX239" fmla="*/ 721436 w 951117"/>
                  <a:gd name="connsiteY239" fmla="*/ 68435 h 981191"/>
                  <a:gd name="connsiteX240" fmla="*/ 730042 w 951117"/>
                  <a:gd name="connsiteY240" fmla="*/ 95622 h 981191"/>
                  <a:gd name="connsiteX241" fmla="*/ 723144 w 951117"/>
                  <a:gd name="connsiteY241" fmla="*/ 126113 h 981191"/>
                  <a:gd name="connsiteX242" fmla="*/ 703717 w 951117"/>
                  <a:gd name="connsiteY242" fmla="*/ 151231 h 981191"/>
                  <a:gd name="connsiteX243" fmla="*/ 677029 w 951117"/>
                  <a:gd name="connsiteY243" fmla="*/ 161613 h 981191"/>
                  <a:gd name="connsiteX244" fmla="*/ 649012 w 951117"/>
                  <a:gd name="connsiteY244" fmla="*/ 156296 h 981191"/>
                  <a:gd name="connsiteX245" fmla="*/ 626262 w 951117"/>
                  <a:gd name="connsiteY245" fmla="*/ 137117 h 981191"/>
                  <a:gd name="connsiteX246" fmla="*/ 617844 w 951117"/>
                  <a:gd name="connsiteY246" fmla="*/ 109804 h 981191"/>
                  <a:gd name="connsiteX247" fmla="*/ 623946 w 951117"/>
                  <a:gd name="connsiteY247" fmla="*/ 81296 h 981191"/>
                  <a:gd name="connsiteX248" fmla="*/ 656492 w 951117"/>
                  <a:gd name="connsiteY248" fmla="*/ 47520 h 981191"/>
                  <a:gd name="connsiteX249" fmla="*/ 677370 w 951117"/>
                  <a:gd name="connsiteY249" fmla="*/ 43992 h 981191"/>
                  <a:gd name="connsiteX250" fmla="*/ 409287 w 951117"/>
                  <a:gd name="connsiteY250" fmla="*/ 18593 h 981191"/>
                  <a:gd name="connsiteX251" fmla="*/ 406338 w 951117"/>
                  <a:gd name="connsiteY251" fmla="*/ 40986 h 981191"/>
                  <a:gd name="connsiteX252" fmla="*/ 398761 w 951117"/>
                  <a:gd name="connsiteY252" fmla="*/ 75817 h 981191"/>
                  <a:gd name="connsiteX253" fmla="*/ 436945 w 951117"/>
                  <a:gd name="connsiteY253" fmla="*/ 70278 h 981191"/>
                  <a:gd name="connsiteX254" fmla="*/ 420665 w 951117"/>
                  <a:gd name="connsiteY254" fmla="*/ 40790 h 981191"/>
                  <a:gd name="connsiteX255" fmla="*/ 409287 w 951117"/>
                  <a:gd name="connsiteY255" fmla="*/ 18593 h 981191"/>
                  <a:gd name="connsiteX256" fmla="*/ 596736 w 951117"/>
                  <a:gd name="connsiteY256" fmla="*/ 15909 h 981191"/>
                  <a:gd name="connsiteX257" fmla="*/ 611354 w 951117"/>
                  <a:gd name="connsiteY257" fmla="*/ 19533 h 981191"/>
                  <a:gd name="connsiteX258" fmla="*/ 583966 w 951117"/>
                  <a:gd name="connsiteY258" fmla="*/ 130001 h 981191"/>
                  <a:gd name="connsiteX259" fmla="*/ 569347 w 951117"/>
                  <a:gd name="connsiteY259" fmla="*/ 126376 h 981191"/>
                  <a:gd name="connsiteX260" fmla="*/ 415945 w 951117"/>
                  <a:gd name="connsiteY260" fmla="*/ 5546 h 981191"/>
                  <a:gd name="connsiteX261" fmla="*/ 478382 w 951117"/>
                  <a:gd name="connsiteY261" fmla="*/ 111492 h 981191"/>
                  <a:gd name="connsiteX262" fmla="*/ 461403 w 951117"/>
                  <a:gd name="connsiteY262" fmla="*/ 113955 h 981191"/>
                  <a:gd name="connsiteX263" fmla="*/ 443316 w 951117"/>
                  <a:gd name="connsiteY263" fmla="*/ 81748 h 981191"/>
                  <a:gd name="connsiteX264" fmla="*/ 396219 w 951117"/>
                  <a:gd name="connsiteY264" fmla="*/ 88581 h 981191"/>
                  <a:gd name="connsiteX265" fmla="*/ 388798 w 951117"/>
                  <a:gd name="connsiteY265" fmla="*/ 124488 h 981191"/>
                  <a:gd name="connsiteX266" fmla="*/ 372971 w 951117"/>
                  <a:gd name="connsiteY266" fmla="*/ 126784 h 981191"/>
                  <a:gd name="connsiteX267" fmla="*/ 373011 w 951117"/>
                  <a:gd name="connsiteY267" fmla="*/ 126608 h 981191"/>
                  <a:gd name="connsiteX268" fmla="*/ 360137 w 951117"/>
                  <a:gd name="connsiteY268" fmla="*/ 131843 h 981191"/>
                  <a:gd name="connsiteX269" fmla="*/ 337265 w 951117"/>
                  <a:gd name="connsiteY269" fmla="*/ 115582 h 981191"/>
                  <a:gd name="connsiteX270" fmla="*/ 321290 w 951117"/>
                  <a:gd name="connsiteY270" fmla="*/ 105149 h 981191"/>
                  <a:gd name="connsiteX271" fmla="*/ 311340 w 951117"/>
                  <a:gd name="connsiteY271" fmla="*/ 100982 h 981191"/>
                  <a:gd name="connsiteX272" fmla="*/ 303835 w 951117"/>
                  <a:gd name="connsiteY272" fmla="*/ 100765 h 981191"/>
                  <a:gd name="connsiteX273" fmla="*/ 295864 w 951117"/>
                  <a:gd name="connsiteY273" fmla="*/ 103420 h 981191"/>
                  <a:gd name="connsiteX274" fmla="*/ 279682 w 951117"/>
                  <a:gd name="connsiteY274" fmla="*/ 110000 h 981191"/>
                  <a:gd name="connsiteX275" fmla="*/ 298720 w 951117"/>
                  <a:gd name="connsiteY275" fmla="*/ 156817 h 981191"/>
                  <a:gd name="connsiteX276" fmla="*/ 284769 w 951117"/>
                  <a:gd name="connsiteY276" fmla="*/ 162491 h 981191"/>
                  <a:gd name="connsiteX277" fmla="*/ 241897 w 951117"/>
                  <a:gd name="connsiteY277" fmla="*/ 57062 h 981191"/>
                  <a:gd name="connsiteX278" fmla="*/ 288642 w 951117"/>
                  <a:gd name="connsiteY278" fmla="*/ 38053 h 981191"/>
                  <a:gd name="connsiteX279" fmla="*/ 311228 w 951117"/>
                  <a:gd name="connsiteY279" fmla="*/ 32179 h 981191"/>
                  <a:gd name="connsiteX280" fmla="*/ 327030 w 951117"/>
                  <a:gd name="connsiteY280" fmla="*/ 37445 h 981191"/>
                  <a:gd name="connsiteX281" fmla="*/ 337880 w 951117"/>
                  <a:gd name="connsiteY281" fmla="*/ 51554 h 981191"/>
                  <a:gd name="connsiteX282" fmla="*/ 338308 w 951117"/>
                  <a:gd name="connsiteY282" fmla="*/ 73422 h 981191"/>
                  <a:gd name="connsiteX283" fmla="*/ 319847 w 951117"/>
                  <a:gd name="connsiteY283" fmla="*/ 92326 h 981191"/>
                  <a:gd name="connsiteX284" fmla="*/ 330396 w 951117"/>
                  <a:gd name="connsiteY284" fmla="*/ 94155 h 981191"/>
                  <a:gd name="connsiteX285" fmla="*/ 347677 w 951117"/>
                  <a:gd name="connsiteY285" fmla="*/ 103470 h 981191"/>
                  <a:gd name="connsiteX286" fmla="*/ 374027 w 951117"/>
                  <a:gd name="connsiteY286" fmla="*/ 122119 h 981191"/>
                  <a:gd name="connsiteX287" fmla="*/ 399887 w 951117"/>
                  <a:gd name="connsiteY287" fmla="*/ 7875 h 981191"/>
                  <a:gd name="connsiteX288" fmla="*/ 473481 w 951117"/>
                  <a:gd name="connsiteY288" fmla="*/ 0 h 981191"/>
                  <a:gd name="connsiteX289" fmla="*/ 563410 w 951117"/>
                  <a:gd name="connsiteY289" fmla="*/ 7131 h 981191"/>
                  <a:gd name="connsiteX290" fmla="*/ 562349 w 951117"/>
                  <a:gd name="connsiteY290" fmla="*/ 20520 h 981191"/>
                  <a:gd name="connsiteX291" fmla="*/ 524814 w 951117"/>
                  <a:gd name="connsiteY291" fmla="*/ 17543 h 981191"/>
                  <a:gd name="connsiteX292" fmla="*/ 516879 w 951117"/>
                  <a:gd name="connsiteY292" fmla="*/ 117611 h 981191"/>
                  <a:gd name="connsiteX293" fmla="*/ 501865 w 951117"/>
                  <a:gd name="connsiteY293" fmla="*/ 116420 h 981191"/>
                  <a:gd name="connsiteX294" fmla="*/ 509800 w 951117"/>
                  <a:gd name="connsiteY294" fmla="*/ 16353 h 981191"/>
                  <a:gd name="connsiteX295" fmla="*/ 472420 w 951117"/>
                  <a:gd name="connsiteY295" fmla="*/ 13389 h 98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951117" h="981191">
                    <a:moveTo>
                      <a:pt x="490941" y="866391"/>
                    </a:moveTo>
                    <a:lnTo>
                      <a:pt x="500246" y="966340"/>
                    </a:lnTo>
                    <a:lnTo>
                      <a:pt x="556057" y="961145"/>
                    </a:lnTo>
                    <a:lnTo>
                      <a:pt x="557302" y="974518"/>
                    </a:lnTo>
                    <a:lnTo>
                      <a:pt x="486495" y="981109"/>
                    </a:lnTo>
                    <a:lnTo>
                      <a:pt x="475945" y="867787"/>
                    </a:lnTo>
                    <a:close/>
                    <a:moveTo>
                      <a:pt x="404878" y="860074"/>
                    </a:moveTo>
                    <a:lnTo>
                      <a:pt x="419843" y="861776"/>
                    </a:lnTo>
                    <a:lnTo>
                      <a:pt x="408504" y="961515"/>
                    </a:lnTo>
                    <a:lnTo>
                      <a:pt x="464198" y="967846"/>
                    </a:lnTo>
                    <a:lnTo>
                      <a:pt x="462681" y="981191"/>
                    </a:lnTo>
                    <a:lnTo>
                      <a:pt x="392022" y="973158"/>
                    </a:lnTo>
                    <a:close/>
                    <a:moveTo>
                      <a:pt x="625183" y="836004"/>
                    </a:moveTo>
                    <a:lnTo>
                      <a:pt x="629371" y="848765"/>
                    </a:lnTo>
                    <a:lnTo>
                      <a:pt x="565493" y="869731"/>
                    </a:lnTo>
                    <a:lnTo>
                      <a:pt x="576363" y="902851"/>
                    </a:lnTo>
                    <a:lnTo>
                      <a:pt x="636185" y="883216"/>
                    </a:lnTo>
                    <a:lnTo>
                      <a:pt x="640349" y="895904"/>
                    </a:lnTo>
                    <a:lnTo>
                      <a:pt x="580527" y="915538"/>
                    </a:lnTo>
                    <a:lnTo>
                      <a:pt x="592608" y="952346"/>
                    </a:lnTo>
                    <a:lnTo>
                      <a:pt x="658995" y="930557"/>
                    </a:lnTo>
                    <a:lnTo>
                      <a:pt x="663183" y="943318"/>
                    </a:lnTo>
                    <a:lnTo>
                      <a:pt x="582487" y="969804"/>
                    </a:lnTo>
                    <a:lnTo>
                      <a:pt x="546994" y="861667"/>
                    </a:lnTo>
                    <a:close/>
                    <a:moveTo>
                      <a:pt x="322814" y="832431"/>
                    </a:moveTo>
                    <a:lnTo>
                      <a:pt x="400432" y="859772"/>
                    </a:lnTo>
                    <a:lnTo>
                      <a:pt x="395970" y="872440"/>
                    </a:lnTo>
                    <a:lnTo>
                      <a:pt x="332558" y="850102"/>
                    </a:lnTo>
                    <a:lnTo>
                      <a:pt x="320976" y="882980"/>
                    </a:lnTo>
                    <a:lnTo>
                      <a:pt x="380361" y="903899"/>
                    </a:lnTo>
                    <a:lnTo>
                      <a:pt x="375925" y="916494"/>
                    </a:lnTo>
                    <a:lnTo>
                      <a:pt x="316540" y="895575"/>
                    </a:lnTo>
                    <a:lnTo>
                      <a:pt x="303668" y="932114"/>
                    </a:lnTo>
                    <a:lnTo>
                      <a:pt x="369570" y="955328"/>
                    </a:lnTo>
                    <a:lnTo>
                      <a:pt x="365108" y="967996"/>
                    </a:lnTo>
                    <a:lnTo>
                      <a:pt x="285001" y="939778"/>
                    </a:lnTo>
                    <a:close/>
                    <a:moveTo>
                      <a:pt x="259362" y="796517"/>
                    </a:moveTo>
                    <a:cubicBezTo>
                      <a:pt x="268853" y="797390"/>
                      <a:pt x="277762" y="800632"/>
                      <a:pt x="286088" y="806244"/>
                    </a:cubicBezTo>
                    <a:cubicBezTo>
                      <a:pt x="295530" y="812608"/>
                      <a:pt x="301850" y="820363"/>
                      <a:pt x="305048" y="829508"/>
                    </a:cubicBezTo>
                    <a:cubicBezTo>
                      <a:pt x="308247" y="838654"/>
                      <a:pt x="308176" y="848437"/>
                      <a:pt x="304836" y="858856"/>
                    </a:cubicBezTo>
                    <a:lnTo>
                      <a:pt x="290587" y="853465"/>
                    </a:lnTo>
                    <a:cubicBezTo>
                      <a:pt x="293027" y="845123"/>
                      <a:pt x="293220" y="837983"/>
                      <a:pt x="291169" y="832044"/>
                    </a:cubicBezTo>
                    <a:cubicBezTo>
                      <a:pt x="289117" y="826105"/>
                      <a:pt x="284937" y="821009"/>
                      <a:pt x="278628" y="816757"/>
                    </a:cubicBezTo>
                    <a:cubicBezTo>
                      <a:pt x="271375" y="811869"/>
                      <a:pt x="264141" y="809521"/>
                      <a:pt x="256927" y="809715"/>
                    </a:cubicBezTo>
                    <a:cubicBezTo>
                      <a:pt x="249713" y="809908"/>
                      <a:pt x="243144" y="812268"/>
                      <a:pt x="237221" y="816796"/>
                    </a:cubicBezTo>
                    <a:cubicBezTo>
                      <a:pt x="231299" y="821324"/>
                      <a:pt x="226240" y="826699"/>
                      <a:pt x="222046" y="832923"/>
                    </a:cubicBezTo>
                    <a:cubicBezTo>
                      <a:pt x="216637" y="840949"/>
                      <a:pt x="213084" y="848743"/>
                      <a:pt x="211388" y="856307"/>
                    </a:cubicBezTo>
                    <a:cubicBezTo>
                      <a:pt x="209692" y="863870"/>
                      <a:pt x="210314" y="870796"/>
                      <a:pt x="213254" y="877084"/>
                    </a:cubicBezTo>
                    <a:cubicBezTo>
                      <a:pt x="216193" y="883372"/>
                      <a:pt x="220539" y="888454"/>
                      <a:pt x="226290" y="892330"/>
                    </a:cubicBezTo>
                    <a:cubicBezTo>
                      <a:pt x="233286" y="897045"/>
                      <a:pt x="240568" y="899020"/>
                      <a:pt x="248137" y="898254"/>
                    </a:cubicBezTo>
                    <a:cubicBezTo>
                      <a:pt x="255706" y="897488"/>
                      <a:pt x="263024" y="893714"/>
                      <a:pt x="270092" y="886931"/>
                    </a:cubicBezTo>
                    <a:lnTo>
                      <a:pt x="280455" y="898503"/>
                    </a:lnTo>
                    <a:cubicBezTo>
                      <a:pt x="270924" y="906996"/>
                      <a:pt x="260942" y="911643"/>
                      <a:pt x="250509" y="912445"/>
                    </a:cubicBezTo>
                    <a:cubicBezTo>
                      <a:pt x="240076" y="913246"/>
                      <a:pt x="229946" y="910335"/>
                      <a:pt x="220117" y="903711"/>
                    </a:cubicBezTo>
                    <a:cubicBezTo>
                      <a:pt x="209946" y="896856"/>
                      <a:pt x="203069" y="889209"/>
                      <a:pt x="199487" y="880772"/>
                    </a:cubicBezTo>
                    <a:cubicBezTo>
                      <a:pt x="195905" y="872335"/>
                      <a:pt x="195097" y="863068"/>
                      <a:pt x="197064" y="852973"/>
                    </a:cubicBezTo>
                    <a:cubicBezTo>
                      <a:pt x="199032" y="842877"/>
                      <a:pt x="203053" y="833322"/>
                      <a:pt x="209127" y="824309"/>
                    </a:cubicBezTo>
                    <a:cubicBezTo>
                      <a:pt x="215751" y="814481"/>
                      <a:pt x="223407" y="807173"/>
                      <a:pt x="232094" y="802387"/>
                    </a:cubicBezTo>
                    <a:cubicBezTo>
                      <a:pt x="240781" y="797600"/>
                      <a:pt x="249871" y="795644"/>
                      <a:pt x="259362" y="796517"/>
                    </a:cubicBezTo>
                    <a:close/>
                    <a:moveTo>
                      <a:pt x="703145" y="787047"/>
                    </a:moveTo>
                    <a:lnTo>
                      <a:pt x="764853" y="882678"/>
                    </a:lnTo>
                    <a:lnTo>
                      <a:pt x="751872" y="891055"/>
                    </a:lnTo>
                    <a:lnTo>
                      <a:pt x="653151" y="848319"/>
                    </a:lnTo>
                    <a:lnTo>
                      <a:pt x="701643" y="923466"/>
                    </a:lnTo>
                    <a:lnTo>
                      <a:pt x="689510" y="931296"/>
                    </a:lnTo>
                    <a:lnTo>
                      <a:pt x="627801" y="835665"/>
                    </a:lnTo>
                    <a:lnTo>
                      <a:pt x="640782" y="827288"/>
                    </a:lnTo>
                    <a:lnTo>
                      <a:pt x="739461" y="869959"/>
                    </a:lnTo>
                    <a:lnTo>
                      <a:pt x="691011" y="794876"/>
                    </a:lnTo>
                    <a:close/>
                    <a:moveTo>
                      <a:pt x="763590" y="731361"/>
                    </a:moveTo>
                    <a:cubicBezTo>
                      <a:pt x="773090" y="729460"/>
                      <a:pt x="782769" y="730885"/>
                      <a:pt x="792625" y="735635"/>
                    </a:cubicBezTo>
                    <a:lnTo>
                      <a:pt x="785314" y="749000"/>
                    </a:lnTo>
                    <a:cubicBezTo>
                      <a:pt x="777390" y="745429"/>
                      <a:pt x="770345" y="744249"/>
                      <a:pt x="764179" y="745458"/>
                    </a:cubicBezTo>
                    <a:cubicBezTo>
                      <a:pt x="758013" y="746668"/>
                      <a:pt x="752388" y="750102"/>
                      <a:pt x="747303" y="755762"/>
                    </a:cubicBezTo>
                    <a:cubicBezTo>
                      <a:pt x="741457" y="762268"/>
                      <a:pt x="738131" y="769107"/>
                      <a:pt x="737324" y="776279"/>
                    </a:cubicBezTo>
                    <a:cubicBezTo>
                      <a:pt x="736516" y="783450"/>
                      <a:pt x="737944" y="790282"/>
                      <a:pt x="741609" y="796775"/>
                    </a:cubicBezTo>
                    <a:cubicBezTo>
                      <a:pt x="745273" y="803267"/>
                      <a:pt x="749896" y="809021"/>
                      <a:pt x="755479" y="814037"/>
                    </a:cubicBezTo>
                    <a:cubicBezTo>
                      <a:pt x="762678" y="820505"/>
                      <a:pt x="769906" y="825103"/>
                      <a:pt x="777162" y="827830"/>
                    </a:cubicBezTo>
                    <a:cubicBezTo>
                      <a:pt x="784418" y="830557"/>
                      <a:pt x="791363" y="830900"/>
                      <a:pt x="797997" y="828859"/>
                    </a:cubicBezTo>
                    <a:cubicBezTo>
                      <a:pt x="804631" y="826819"/>
                      <a:pt x="810266" y="823219"/>
                      <a:pt x="814901" y="818060"/>
                    </a:cubicBezTo>
                    <a:cubicBezTo>
                      <a:pt x="820539" y="811784"/>
                      <a:pt x="823503" y="804845"/>
                      <a:pt x="823793" y="797243"/>
                    </a:cubicBezTo>
                    <a:cubicBezTo>
                      <a:pt x="824083" y="789641"/>
                      <a:pt x="821358" y="781871"/>
                      <a:pt x="815619" y="773932"/>
                    </a:cubicBezTo>
                    <a:lnTo>
                      <a:pt x="828514" y="765271"/>
                    </a:lnTo>
                    <a:cubicBezTo>
                      <a:pt x="835606" y="775886"/>
                      <a:pt x="838826" y="786415"/>
                      <a:pt x="838176" y="796859"/>
                    </a:cubicBezTo>
                    <a:cubicBezTo>
                      <a:pt x="837525" y="807302"/>
                      <a:pt x="833239" y="816932"/>
                      <a:pt x="825318" y="825749"/>
                    </a:cubicBezTo>
                    <a:cubicBezTo>
                      <a:pt x="817120" y="834873"/>
                      <a:pt x="808595" y="840625"/>
                      <a:pt x="799743" y="843004"/>
                    </a:cubicBezTo>
                    <a:cubicBezTo>
                      <a:pt x="790892" y="845384"/>
                      <a:pt x="781603" y="844900"/>
                      <a:pt x="771876" y="841554"/>
                    </a:cubicBezTo>
                    <a:cubicBezTo>
                      <a:pt x="762150" y="838208"/>
                      <a:pt x="753244" y="832903"/>
                      <a:pt x="745159" y="825639"/>
                    </a:cubicBezTo>
                    <a:cubicBezTo>
                      <a:pt x="736343" y="817718"/>
                      <a:pt x="730166" y="809124"/>
                      <a:pt x="726628" y="799858"/>
                    </a:cubicBezTo>
                    <a:cubicBezTo>
                      <a:pt x="723090" y="790592"/>
                      <a:pt x="722411" y="781319"/>
                      <a:pt x="724590" y="772040"/>
                    </a:cubicBezTo>
                    <a:cubicBezTo>
                      <a:pt x="726769" y="762761"/>
                      <a:pt x="731214" y="754387"/>
                      <a:pt x="737924" y="746918"/>
                    </a:cubicBezTo>
                    <a:cubicBezTo>
                      <a:pt x="745534" y="738448"/>
                      <a:pt x="754089" y="733262"/>
                      <a:pt x="763590" y="731361"/>
                    </a:cubicBezTo>
                    <a:close/>
                    <a:moveTo>
                      <a:pt x="149601" y="641826"/>
                    </a:moveTo>
                    <a:lnTo>
                      <a:pt x="187243" y="715005"/>
                    </a:lnTo>
                    <a:lnTo>
                      <a:pt x="187160" y="715048"/>
                    </a:lnTo>
                    <a:lnTo>
                      <a:pt x="197038" y="726259"/>
                    </a:lnTo>
                    <a:lnTo>
                      <a:pt x="188789" y="761051"/>
                    </a:lnTo>
                    <a:cubicBezTo>
                      <a:pt x="187086" y="768277"/>
                      <a:pt x="185609" y="773648"/>
                      <a:pt x="184361" y="777163"/>
                    </a:cubicBezTo>
                    <a:cubicBezTo>
                      <a:pt x="189144" y="776328"/>
                      <a:pt x="194371" y="775723"/>
                      <a:pt x="200042" y="775348"/>
                    </a:cubicBezTo>
                    <a:lnTo>
                      <a:pt x="237841" y="772567"/>
                    </a:lnTo>
                    <a:lnTo>
                      <a:pt x="248671" y="784857"/>
                    </a:lnTo>
                    <a:lnTo>
                      <a:pt x="181989" y="790324"/>
                    </a:lnTo>
                    <a:lnTo>
                      <a:pt x="165331" y="862429"/>
                    </a:lnTo>
                    <a:lnTo>
                      <a:pt x="153013" y="848449"/>
                    </a:lnTo>
                    <a:lnTo>
                      <a:pt x="164538" y="800112"/>
                    </a:lnTo>
                    <a:cubicBezTo>
                      <a:pt x="165225" y="797369"/>
                      <a:pt x="166033" y="794450"/>
                      <a:pt x="166962" y="791355"/>
                    </a:cubicBezTo>
                    <a:cubicBezTo>
                      <a:pt x="162179" y="792189"/>
                      <a:pt x="158845" y="792712"/>
                      <a:pt x="156962" y="792923"/>
                    </a:cubicBezTo>
                    <a:lnTo>
                      <a:pt x="108309" y="797714"/>
                    </a:lnTo>
                    <a:lnTo>
                      <a:pt x="96351" y="784142"/>
                    </a:lnTo>
                    <a:lnTo>
                      <a:pt x="169954" y="777957"/>
                    </a:lnTo>
                    <a:lnTo>
                      <a:pt x="184316" y="716511"/>
                    </a:lnTo>
                    <a:lnTo>
                      <a:pt x="175300" y="721148"/>
                    </a:lnTo>
                    <a:lnTo>
                      <a:pt x="144547" y="661363"/>
                    </a:lnTo>
                    <a:lnTo>
                      <a:pt x="113549" y="677307"/>
                    </a:lnTo>
                    <a:lnTo>
                      <a:pt x="142349" y="733296"/>
                    </a:lnTo>
                    <a:lnTo>
                      <a:pt x="130475" y="739404"/>
                    </a:lnTo>
                    <a:lnTo>
                      <a:pt x="101675" y="683415"/>
                    </a:lnTo>
                    <a:lnTo>
                      <a:pt x="67226" y="701136"/>
                    </a:lnTo>
                    <a:lnTo>
                      <a:pt x="99186" y="763269"/>
                    </a:lnTo>
                    <a:lnTo>
                      <a:pt x="87243" y="769412"/>
                    </a:lnTo>
                    <a:lnTo>
                      <a:pt x="48393" y="693886"/>
                    </a:lnTo>
                    <a:close/>
                    <a:moveTo>
                      <a:pt x="806594" y="641123"/>
                    </a:moveTo>
                    <a:lnTo>
                      <a:pt x="818531" y="647279"/>
                    </a:lnTo>
                    <a:lnTo>
                      <a:pt x="787714" y="707032"/>
                    </a:lnTo>
                    <a:lnTo>
                      <a:pt x="818695" y="723010"/>
                    </a:lnTo>
                    <a:lnTo>
                      <a:pt x="847554" y="667052"/>
                    </a:lnTo>
                    <a:lnTo>
                      <a:pt x="859422" y="673172"/>
                    </a:lnTo>
                    <a:lnTo>
                      <a:pt x="830562" y="729130"/>
                    </a:lnTo>
                    <a:lnTo>
                      <a:pt x="864993" y="746887"/>
                    </a:lnTo>
                    <a:lnTo>
                      <a:pt x="897019" y="684788"/>
                    </a:lnTo>
                    <a:lnTo>
                      <a:pt x="908956" y="690944"/>
                    </a:lnTo>
                    <a:lnTo>
                      <a:pt x="870026" y="766429"/>
                    </a:lnTo>
                    <a:lnTo>
                      <a:pt x="768874" y="714262"/>
                    </a:lnTo>
                    <a:close/>
                    <a:moveTo>
                      <a:pt x="945570" y="299154"/>
                    </a:moveTo>
                    <a:lnTo>
                      <a:pt x="951117" y="313157"/>
                    </a:lnTo>
                    <a:lnTo>
                      <a:pt x="857792" y="350127"/>
                    </a:lnTo>
                    <a:lnTo>
                      <a:pt x="878435" y="402239"/>
                    </a:lnTo>
                    <a:lnTo>
                      <a:pt x="865949" y="407186"/>
                    </a:lnTo>
                    <a:lnTo>
                      <a:pt x="839758" y="341071"/>
                    </a:lnTo>
                    <a:close/>
                    <a:moveTo>
                      <a:pt x="50791" y="290394"/>
                    </a:moveTo>
                    <a:cubicBezTo>
                      <a:pt x="43206" y="290458"/>
                      <a:pt x="36453" y="292477"/>
                      <a:pt x="30533" y="296449"/>
                    </a:cubicBezTo>
                    <a:cubicBezTo>
                      <a:pt x="24613" y="300421"/>
                      <a:pt x="20133" y="305838"/>
                      <a:pt x="17093" y="312700"/>
                    </a:cubicBezTo>
                    <a:cubicBezTo>
                      <a:pt x="12775" y="322448"/>
                      <a:pt x="12408" y="332319"/>
                      <a:pt x="15991" y="342312"/>
                    </a:cubicBezTo>
                    <a:cubicBezTo>
                      <a:pt x="19574" y="352306"/>
                      <a:pt x="29198" y="360771"/>
                      <a:pt x="44861" y="367710"/>
                    </a:cubicBezTo>
                    <a:cubicBezTo>
                      <a:pt x="57401" y="373264"/>
                      <a:pt x="68773" y="374268"/>
                      <a:pt x="78977" y="370722"/>
                    </a:cubicBezTo>
                    <a:cubicBezTo>
                      <a:pt x="89181" y="367175"/>
                      <a:pt x="96536" y="360315"/>
                      <a:pt x="101042" y="350140"/>
                    </a:cubicBezTo>
                    <a:cubicBezTo>
                      <a:pt x="105633" y="339777"/>
                      <a:pt x="105767" y="329633"/>
                      <a:pt x="101446" y="319709"/>
                    </a:cubicBezTo>
                    <a:cubicBezTo>
                      <a:pt x="97124" y="309785"/>
                      <a:pt x="88268" y="301857"/>
                      <a:pt x="74876" y="295925"/>
                    </a:cubicBezTo>
                    <a:cubicBezTo>
                      <a:pt x="66405" y="292173"/>
                      <a:pt x="58377" y="290329"/>
                      <a:pt x="50791" y="290394"/>
                    </a:cubicBezTo>
                    <a:close/>
                    <a:moveTo>
                      <a:pt x="50615" y="275456"/>
                    </a:moveTo>
                    <a:cubicBezTo>
                      <a:pt x="60618" y="275047"/>
                      <a:pt x="70824" y="277148"/>
                      <a:pt x="81235" y="281760"/>
                    </a:cubicBezTo>
                    <a:cubicBezTo>
                      <a:pt x="91788" y="286434"/>
                      <a:pt x="100285" y="292745"/>
                      <a:pt x="106727" y="300694"/>
                    </a:cubicBezTo>
                    <a:cubicBezTo>
                      <a:pt x="113169" y="308642"/>
                      <a:pt x="116802" y="317468"/>
                      <a:pt x="117626" y="327173"/>
                    </a:cubicBezTo>
                    <a:cubicBezTo>
                      <a:pt x="118450" y="336879"/>
                      <a:pt x="116861" y="346250"/>
                      <a:pt x="112857" y="355289"/>
                    </a:cubicBezTo>
                    <a:cubicBezTo>
                      <a:pt x="108518" y="365084"/>
                      <a:pt x="102274" y="372791"/>
                      <a:pt x="94125" y="378408"/>
                    </a:cubicBezTo>
                    <a:cubicBezTo>
                      <a:pt x="85976" y="384025"/>
                      <a:pt x="76928" y="387008"/>
                      <a:pt x="66981" y="387357"/>
                    </a:cubicBezTo>
                    <a:cubicBezTo>
                      <a:pt x="57033" y="387706"/>
                      <a:pt x="47493" y="385857"/>
                      <a:pt x="38360" y="381812"/>
                    </a:cubicBezTo>
                    <a:cubicBezTo>
                      <a:pt x="21087" y="374161"/>
                      <a:pt x="9619" y="363534"/>
                      <a:pt x="3956" y="349930"/>
                    </a:cubicBezTo>
                    <a:cubicBezTo>
                      <a:pt x="-1708" y="336326"/>
                      <a:pt x="-1290" y="322190"/>
                      <a:pt x="5208" y="307520"/>
                    </a:cubicBezTo>
                    <a:cubicBezTo>
                      <a:pt x="9463" y="297914"/>
                      <a:pt x="15594" y="290270"/>
                      <a:pt x="23601" y="284590"/>
                    </a:cubicBezTo>
                    <a:cubicBezTo>
                      <a:pt x="31608" y="278910"/>
                      <a:pt x="40613" y="275865"/>
                      <a:pt x="50615" y="275456"/>
                    </a:cubicBezTo>
                    <a:close/>
                    <a:moveTo>
                      <a:pt x="892716" y="232405"/>
                    </a:moveTo>
                    <a:cubicBezTo>
                      <a:pt x="885882" y="235346"/>
                      <a:pt x="878753" y="237768"/>
                      <a:pt x="871330" y="239670"/>
                    </a:cubicBezTo>
                    <a:lnTo>
                      <a:pt x="836741" y="248288"/>
                    </a:lnTo>
                    <a:lnTo>
                      <a:pt x="858606" y="280080"/>
                    </a:lnTo>
                    <a:lnTo>
                      <a:pt x="877845" y="252431"/>
                    </a:lnTo>
                    <a:cubicBezTo>
                      <a:pt x="883681" y="244020"/>
                      <a:pt x="888638" y="237345"/>
                      <a:pt x="892716" y="232405"/>
                    </a:cubicBezTo>
                    <a:close/>
                    <a:moveTo>
                      <a:pt x="898167" y="219233"/>
                    </a:moveTo>
                    <a:lnTo>
                      <a:pt x="907362" y="232602"/>
                    </a:lnTo>
                    <a:lnTo>
                      <a:pt x="839983" y="335477"/>
                    </a:lnTo>
                    <a:lnTo>
                      <a:pt x="830261" y="321340"/>
                    </a:lnTo>
                    <a:lnTo>
                      <a:pt x="851139" y="290869"/>
                    </a:lnTo>
                    <a:lnTo>
                      <a:pt x="824171" y="251657"/>
                    </a:lnTo>
                    <a:lnTo>
                      <a:pt x="788687" y="260892"/>
                    </a:lnTo>
                    <a:lnTo>
                      <a:pt x="779624" y="247715"/>
                    </a:lnTo>
                    <a:close/>
                    <a:moveTo>
                      <a:pt x="111736" y="184529"/>
                    </a:moveTo>
                    <a:cubicBezTo>
                      <a:pt x="107588" y="184250"/>
                      <a:pt x="103849" y="185290"/>
                      <a:pt x="100520" y="187650"/>
                    </a:cubicBezTo>
                    <a:cubicBezTo>
                      <a:pt x="98395" y="189189"/>
                      <a:pt x="95172" y="192605"/>
                      <a:pt x="90852" y="197897"/>
                    </a:cubicBezTo>
                    <a:lnTo>
                      <a:pt x="72442" y="220450"/>
                    </a:lnTo>
                    <a:lnTo>
                      <a:pt x="103955" y="246175"/>
                    </a:lnTo>
                    <a:lnTo>
                      <a:pt x="122562" y="223382"/>
                    </a:lnTo>
                    <a:cubicBezTo>
                      <a:pt x="128715" y="215845"/>
                      <a:pt x="131681" y="209346"/>
                      <a:pt x="131460" y="203888"/>
                    </a:cubicBezTo>
                    <a:cubicBezTo>
                      <a:pt x="131240" y="198430"/>
                      <a:pt x="128583" y="193622"/>
                      <a:pt x="123491" y="189465"/>
                    </a:cubicBezTo>
                    <a:cubicBezTo>
                      <a:pt x="119803" y="186454"/>
                      <a:pt x="115884" y="184809"/>
                      <a:pt x="111736" y="184529"/>
                    </a:cubicBezTo>
                    <a:close/>
                    <a:moveTo>
                      <a:pt x="118736" y="170000"/>
                    </a:moveTo>
                    <a:cubicBezTo>
                      <a:pt x="123841" y="171194"/>
                      <a:pt x="128579" y="173575"/>
                      <a:pt x="132949" y="177143"/>
                    </a:cubicBezTo>
                    <a:cubicBezTo>
                      <a:pt x="140447" y="183263"/>
                      <a:pt x="144844" y="190828"/>
                      <a:pt x="146141" y="199838"/>
                    </a:cubicBezTo>
                    <a:cubicBezTo>
                      <a:pt x="147439" y="208847"/>
                      <a:pt x="142998" y="219587"/>
                      <a:pt x="132819" y="232056"/>
                    </a:cubicBezTo>
                    <a:lnTo>
                      <a:pt x="114360" y="254669"/>
                    </a:lnTo>
                    <a:lnTo>
                      <a:pt x="150203" y="283929"/>
                    </a:lnTo>
                    <a:lnTo>
                      <a:pt x="140679" y="295596"/>
                    </a:lnTo>
                    <a:lnTo>
                      <a:pt x="52513" y="223624"/>
                    </a:lnTo>
                    <a:lnTo>
                      <a:pt x="79662" y="190366"/>
                    </a:lnTo>
                    <a:cubicBezTo>
                      <a:pt x="84441" y="184512"/>
                      <a:pt x="88371" y="180271"/>
                      <a:pt x="91452" y="177642"/>
                    </a:cubicBezTo>
                    <a:cubicBezTo>
                      <a:pt x="95709" y="173901"/>
                      <a:pt x="100044" y="171394"/>
                      <a:pt x="104458" y="170120"/>
                    </a:cubicBezTo>
                    <a:cubicBezTo>
                      <a:pt x="108872" y="168846"/>
                      <a:pt x="113631" y="168806"/>
                      <a:pt x="118736" y="170000"/>
                    </a:cubicBezTo>
                    <a:close/>
                    <a:moveTo>
                      <a:pt x="782105" y="99236"/>
                    </a:moveTo>
                    <a:lnTo>
                      <a:pt x="793793" y="109339"/>
                    </a:lnTo>
                    <a:lnTo>
                      <a:pt x="780583" y="216034"/>
                    </a:lnTo>
                    <a:lnTo>
                      <a:pt x="839018" y="148431"/>
                    </a:lnTo>
                    <a:lnTo>
                      <a:pt x="849943" y="157874"/>
                    </a:lnTo>
                    <a:lnTo>
                      <a:pt x="775516" y="243978"/>
                    </a:lnTo>
                    <a:lnTo>
                      <a:pt x="763828" y="233875"/>
                    </a:lnTo>
                    <a:lnTo>
                      <a:pt x="777088" y="127122"/>
                    </a:lnTo>
                    <a:lnTo>
                      <a:pt x="718603" y="194783"/>
                    </a:lnTo>
                    <a:lnTo>
                      <a:pt x="707678" y="185341"/>
                    </a:lnTo>
                    <a:close/>
                    <a:moveTo>
                      <a:pt x="202860" y="79733"/>
                    </a:moveTo>
                    <a:lnTo>
                      <a:pt x="210886" y="90501"/>
                    </a:lnTo>
                    <a:lnTo>
                      <a:pt x="156980" y="130679"/>
                    </a:lnTo>
                    <a:lnTo>
                      <a:pt x="177812" y="158628"/>
                    </a:lnTo>
                    <a:lnTo>
                      <a:pt x="228294" y="121002"/>
                    </a:lnTo>
                    <a:lnTo>
                      <a:pt x="236274" y="131708"/>
                    </a:lnTo>
                    <a:lnTo>
                      <a:pt x="185792" y="169335"/>
                    </a:lnTo>
                    <a:lnTo>
                      <a:pt x="208943" y="200396"/>
                    </a:lnTo>
                    <a:lnTo>
                      <a:pt x="264965" y="158640"/>
                    </a:lnTo>
                    <a:lnTo>
                      <a:pt x="272991" y="169409"/>
                    </a:lnTo>
                    <a:lnTo>
                      <a:pt x="204893" y="220165"/>
                    </a:lnTo>
                    <a:lnTo>
                      <a:pt x="136878" y="128911"/>
                    </a:lnTo>
                    <a:close/>
                    <a:moveTo>
                      <a:pt x="663874" y="59702"/>
                    </a:moveTo>
                    <a:cubicBezTo>
                      <a:pt x="653812" y="63089"/>
                      <a:pt x="645161" y="72546"/>
                      <a:pt x="637919" y="88071"/>
                    </a:cubicBezTo>
                    <a:cubicBezTo>
                      <a:pt x="632121" y="100501"/>
                      <a:pt x="630895" y="111851"/>
                      <a:pt x="634242" y="122122"/>
                    </a:cubicBezTo>
                    <a:cubicBezTo>
                      <a:pt x="637590" y="132393"/>
                      <a:pt x="644306" y="139880"/>
                      <a:pt x="654390" y="144584"/>
                    </a:cubicBezTo>
                    <a:cubicBezTo>
                      <a:pt x="664662" y="149376"/>
                      <a:pt x="674801" y="149708"/>
                      <a:pt x="684808" y="145581"/>
                    </a:cubicBezTo>
                    <a:cubicBezTo>
                      <a:pt x="694814" y="141453"/>
                      <a:pt x="702913" y="132753"/>
                      <a:pt x="709105" y="119479"/>
                    </a:cubicBezTo>
                    <a:cubicBezTo>
                      <a:pt x="713021" y="111083"/>
                      <a:pt x="715021" y="103092"/>
                      <a:pt x="715104" y="95507"/>
                    </a:cubicBezTo>
                    <a:cubicBezTo>
                      <a:pt x="715188" y="87921"/>
                      <a:pt x="713301" y="81130"/>
                      <a:pt x="709445" y="75134"/>
                    </a:cubicBezTo>
                    <a:cubicBezTo>
                      <a:pt x="705589" y="69138"/>
                      <a:pt x="700260" y="64553"/>
                      <a:pt x="693459" y="61381"/>
                    </a:cubicBezTo>
                    <a:cubicBezTo>
                      <a:pt x="683797" y="56873"/>
                      <a:pt x="673935" y="56314"/>
                      <a:pt x="663874" y="59702"/>
                    </a:cubicBezTo>
                    <a:close/>
                    <a:moveTo>
                      <a:pt x="313066" y="47313"/>
                    </a:moveTo>
                    <a:cubicBezTo>
                      <a:pt x="308140" y="45573"/>
                      <a:pt x="301770" y="46292"/>
                      <a:pt x="293955" y="49470"/>
                    </a:cubicBezTo>
                    <a:lnTo>
                      <a:pt x="260586" y="63039"/>
                    </a:lnTo>
                    <a:lnTo>
                      <a:pt x="274769" y="97918"/>
                    </a:lnTo>
                    <a:lnTo>
                      <a:pt x="304758" y="85723"/>
                    </a:lnTo>
                    <a:cubicBezTo>
                      <a:pt x="311135" y="83130"/>
                      <a:pt x="315853" y="80444"/>
                      <a:pt x="318913" y="77663"/>
                    </a:cubicBezTo>
                    <a:cubicBezTo>
                      <a:pt x="321972" y="74882"/>
                      <a:pt x="323847" y="71661"/>
                      <a:pt x="324538" y="68000"/>
                    </a:cubicBezTo>
                    <a:cubicBezTo>
                      <a:pt x="325228" y="64339"/>
                      <a:pt x="324881" y="60807"/>
                      <a:pt x="323497" y="57403"/>
                    </a:cubicBezTo>
                    <a:cubicBezTo>
                      <a:pt x="321469" y="52417"/>
                      <a:pt x="317992" y="49054"/>
                      <a:pt x="313066" y="47313"/>
                    </a:cubicBezTo>
                    <a:close/>
                    <a:moveTo>
                      <a:pt x="677370" y="43992"/>
                    </a:moveTo>
                    <a:cubicBezTo>
                      <a:pt x="684433" y="44338"/>
                      <a:pt x="691599" y="46207"/>
                      <a:pt x="698869" y="49598"/>
                    </a:cubicBezTo>
                    <a:cubicBezTo>
                      <a:pt x="708391" y="54040"/>
                      <a:pt x="715913" y="60318"/>
                      <a:pt x="721436" y="68435"/>
                    </a:cubicBezTo>
                    <a:cubicBezTo>
                      <a:pt x="726959" y="76551"/>
                      <a:pt x="729828" y="85613"/>
                      <a:pt x="730042" y="95622"/>
                    </a:cubicBezTo>
                    <a:cubicBezTo>
                      <a:pt x="730257" y="105630"/>
                      <a:pt x="727957" y="115794"/>
                      <a:pt x="723144" y="126113"/>
                    </a:cubicBezTo>
                    <a:cubicBezTo>
                      <a:pt x="718264" y="136573"/>
                      <a:pt x="711789" y="144945"/>
                      <a:pt x="703717" y="151231"/>
                    </a:cubicBezTo>
                    <a:cubicBezTo>
                      <a:pt x="695644" y="157517"/>
                      <a:pt x="686749" y="160978"/>
                      <a:pt x="677029" y="161613"/>
                    </a:cubicBezTo>
                    <a:cubicBezTo>
                      <a:pt x="667310" y="162247"/>
                      <a:pt x="657971" y="160475"/>
                      <a:pt x="649012" y="156296"/>
                    </a:cubicBezTo>
                    <a:cubicBezTo>
                      <a:pt x="639303" y="151767"/>
                      <a:pt x="631720" y="145374"/>
                      <a:pt x="626262" y="137117"/>
                    </a:cubicBezTo>
                    <a:cubicBezTo>
                      <a:pt x="620805" y="128861"/>
                      <a:pt x="617999" y="119756"/>
                      <a:pt x="617844" y="109804"/>
                    </a:cubicBezTo>
                    <a:cubicBezTo>
                      <a:pt x="617689" y="99851"/>
                      <a:pt x="619723" y="90349"/>
                      <a:pt x="623946" y="81296"/>
                    </a:cubicBezTo>
                    <a:cubicBezTo>
                      <a:pt x="631932" y="64176"/>
                      <a:pt x="642780" y="52918"/>
                      <a:pt x="656492" y="47520"/>
                    </a:cubicBezTo>
                    <a:cubicBezTo>
                      <a:pt x="663347" y="44822"/>
                      <a:pt x="670307" y="43645"/>
                      <a:pt x="677370" y="43992"/>
                    </a:cubicBezTo>
                    <a:close/>
                    <a:moveTo>
                      <a:pt x="409287" y="18593"/>
                    </a:moveTo>
                    <a:cubicBezTo>
                      <a:pt x="408900" y="26023"/>
                      <a:pt x="407917" y="33487"/>
                      <a:pt x="406338" y="40986"/>
                    </a:cubicBezTo>
                    <a:lnTo>
                      <a:pt x="398761" y="75817"/>
                    </a:lnTo>
                    <a:lnTo>
                      <a:pt x="436945" y="70278"/>
                    </a:lnTo>
                    <a:lnTo>
                      <a:pt x="420665" y="40790"/>
                    </a:lnTo>
                    <a:cubicBezTo>
                      <a:pt x="415705" y="31834"/>
                      <a:pt x="411912" y="24435"/>
                      <a:pt x="409287" y="18593"/>
                    </a:cubicBezTo>
                    <a:close/>
                    <a:moveTo>
                      <a:pt x="596736" y="15909"/>
                    </a:moveTo>
                    <a:lnTo>
                      <a:pt x="611354" y="19533"/>
                    </a:lnTo>
                    <a:lnTo>
                      <a:pt x="583966" y="130001"/>
                    </a:lnTo>
                    <a:lnTo>
                      <a:pt x="569347" y="126376"/>
                    </a:lnTo>
                    <a:close/>
                    <a:moveTo>
                      <a:pt x="415945" y="5546"/>
                    </a:moveTo>
                    <a:lnTo>
                      <a:pt x="478382" y="111492"/>
                    </a:lnTo>
                    <a:lnTo>
                      <a:pt x="461403" y="113955"/>
                    </a:lnTo>
                    <a:lnTo>
                      <a:pt x="443316" y="81748"/>
                    </a:lnTo>
                    <a:lnTo>
                      <a:pt x="396219" y="88581"/>
                    </a:lnTo>
                    <a:lnTo>
                      <a:pt x="388798" y="124488"/>
                    </a:lnTo>
                    <a:lnTo>
                      <a:pt x="372971" y="126784"/>
                    </a:lnTo>
                    <a:lnTo>
                      <a:pt x="373011" y="126608"/>
                    </a:lnTo>
                    <a:lnTo>
                      <a:pt x="360137" y="131843"/>
                    </a:lnTo>
                    <a:lnTo>
                      <a:pt x="337265" y="115582"/>
                    </a:lnTo>
                    <a:cubicBezTo>
                      <a:pt x="330617" y="110910"/>
                      <a:pt x="325292" y="107433"/>
                      <a:pt x="321290" y="105149"/>
                    </a:cubicBezTo>
                    <a:cubicBezTo>
                      <a:pt x="317288" y="102865"/>
                      <a:pt x="313972" y="101476"/>
                      <a:pt x="311340" y="100982"/>
                    </a:cubicBezTo>
                    <a:cubicBezTo>
                      <a:pt x="308709" y="100487"/>
                      <a:pt x="306207" y="100415"/>
                      <a:pt x="303835" y="100765"/>
                    </a:cubicBezTo>
                    <a:cubicBezTo>
                      <a:pt x="302117" y="101073"/>
                      <a:pt x="299459" y="101958"/>
                      <a:pt x="295864" y="103420"/>
                    </a:cubicBezTo>
                    <a:lnTo>
                      <a:pt x="279682" y="110000"/>
                    </a:lnTo>
                    <a:lnTo>
                      <a:pt x="298720" y="156817"/>
                    </a:lnTo>
                    <a:lnTo>
                      <a:pt x="284769" y="162491"/>
                    </a:lnTo>
                    <a:lnTo>
                      <a:pt x="241897" y="57062"/>
                    </a:lnTo>
                    <a:lnTo>
                      <a:pt x="288642" y="38053"/>
                    </a:lnTo>
                    <a:cubicBezTo>
                      <a:pt x="298039" y="34232"/>
                      <a:pt x="305568" y="32274"/>
                      <a:pt x="311228" y="32179"/>
                    </a:cubicBezTo>
                    <a:cubicBezTo>
                      <a:pt x="316889" y="32084"/>
                      <a:pt x="322156" y="33839"/>
                      <a:pt x="327030" y="37445"/>
                    </a:cubicBezTo>
                    <a:cubicBezTo>
                      <a:pt x="331904" y="41050"/>
                      <a:pt x="335521" y="45753"/>
                      <a:pt x="337880" y="51554"/>
                    </a:cubicBezTo>
                    <a:cubicBezTo>
                      <a:pt x="340921" y="59033"/>
                      <a:pt x="341064" y="66323"/>
                      <a:pt x="338308" y="73422"/>
                    </a:cubicBezTo>
                    <a:cubicBezTo>
                      <a:pt x="335551" y="80521"/>
                      <a:pt x="329398" y="86822"/>
                      <a:pt x="319847" y="92326"/>
                    </a:cubicBezTo>
                    <a:cubicBezTo>
                      <a:pt x="324260" y="92599"/>
                      <a:pt x="327776" y="93209"/>
                      <a:pt x="330396" y="94155"/>
                    </a:cubicBezTo>
                    <a:cubicBezTo>
                      <a:pt x="335992" y="96237"/>
                      <a:pt x="341752" y="99342"/>
                      <a:pt x="347677" y="103470"/>
                    </a:cubicBezTo>
                    <a:lnTo>
                      <a:pt x="374027" y="122119"/>
                    </a:lnTo>
                    <a:lnTo>
                      <a:pt x="399887" y="7875"/>
                    </a:lnTo>
                    <a:close/>
                    <a:moveTo>
                      <a:pt x="473481" y="0"/>
                    </a:moveTo>
                    <a:lnTo>
                      <a:pt x="563410" y="7131"/>
                    </a:lnTo>
                    <a:lnTo>
                      <a:pt x="562349" y="20520"/>
                    </a:lnTo>
                    <a:lnTo>
                      <a:pt x="524814" y="17543"/>
                    </a:lnTo>
                    <a:lnTo>
                      <a:pt x="516879" y="117611"/>
                    </a:lnTo>
                    <a:lnTo>
                      <a:pt x="501865" y="116420"/>
                    </a:lnTo>
                    <a:lnTo>
                      <a:pt x="509800" y="16353"/>
                    </a:lnTo>
                    <a:lnTo>
                      <a:pt x="472420" y="13389"/>
                    </a:lnTo>
                    <a:close/>
                  </a:path>
                </a:pathLst>
              </a:custGeom>
              <a:solidFill>
                <a:schemeClr val="accent1">
                  <a:lumMod val="50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fr-FR" sz="1600" b="1">
                  <a:solidFill>
                    <a:srgbClr val="B1B3B4">
                      <a:lumMod val="50000"/>
                    </a:srgbClr>
                  </a:solidFill>
                  <a:cs typeface="Arial" charset="0"/>
                </a:endParaRPr>
              </a:p>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95" name="Groupe 65"/>
              <p:cNvGrpSpPr/>
              <p:nvPr/>
            </p:nvGrpSpPr>
            <p:grpSpPr>
              <a:xfrm>
                <a:off x="6682930" y="5091416"/>
                <a:ext cx="576000" cy="576000"/>
                <a:chOff x="6712302" y="3694283"/>
                <a:chExt cx="576000" cy="576000"/>
              </a:xfrm>
            </p:grpSpPr>
            <p:sp>
              <p:nvSpPr>
                <p:cNvPr id="96" name="Ellipse 66"/>
                <p:cNvSpPr>
                  <a:spLocks noChangeAspect="1"/>
                </p:cNvSpPr>
                <p:nvPr/>
              </p:nvSpPr>
              <p:spPr bwMode="auto">
                <a:xfrm>
                  <a:off x="6712302" y="3694283"/>
                  <a:ext cx="576000" cy="576000"/>
                </a:xfrm>
                <a:prstGeom prst="ellipse">
                  <a:avLst/>
                </a:prstGeom>
                <a:solidFill>
                  <a:schemeClr val="accent6">
                    <a:lumMod val="60000"/>
                    <a:lumOff val="40000"/>
                  </a:schemeClr>
                </a:solidFill>
                <a:ln w="635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1600" b="1">
                    <a:solidFill>
                      <a:srgbClr val="B1B3B4">
                        <a:lumMod val="50000"/>
                      </a:srgbClr>
                    </a:solidFill>
                    <a:cs typeface="Arial" charset="0"/>
                  </a:endParaRPr>
                </a:p>
              </p:txBody>
            </p:sp>
            <p:grpSp>
              <p:nvGrpSpPr>
                <p:cNvPr id="97" name="Groupe 67"/>
                <p:cNvGrpSpPr>
                  <a:grpSpLocks noChangeAspect="1"/>
                </p:cNvGrpSpPr>
                <p:nvPr/>
              </p:nvGrpSpPr>
              <p:grpSpPr>
                <a:xfrm>
                  <a:off x="6809182" y="3762137"/>
                  <a:ext cx="382240" cy="360000"/>
                  <a:chOff x="5324714" y="776426"/>
                  <a:chExt cx="3971186" cy="3740129"/>
                </a:xfrm>
              </p:grpSpPr>
              <p:sp>
                <p:nvSpPr>
                  <p:cNvPr id="98" name="Freeform 608"/>
                  <p:cNvSpPr>
                    <a:spLocks/>
                  </p:cNvSpPr>
                  <p:nvPr/>
                </p:nvSpPr>
                <p:spPr bwMode="auto">
                  <a:xfrm>
                    <a:off x="8144319" y="1402752"/>
                    <a:ext cx="1151581" cy="2315519"/>
                  </a:xfrm>
                  <a:custGeom>
                    <a:avLst/>
                    <a:gdLst>
                      <a:gd name="connsiteX0" fmla="*/ 9003 w 9003"/>
                      <a:gd name="connsiteY0" fmla="*/ 10000 h 10000"/>
                      <a:gd name="connsiteX1" fmla="*/ 7915 w 9003"/>
                      <a:gd name="connsiteY1" fmla="*/ 10000 h 10000"/>
                      <a:gd name="connsiteX2" fmla="*/ 7915 w 9003"/>
                      <a:gd name="connsiteY2" fmla="*/ 0 h 10000"/>
                      <a:gd name="connsiteX3" fmla="*/ 7100 w 9003"/>
                      <a:gd name="connsiteY3" fmla="*/ 0 h 10000"/>
                      <a:gd name="connsiteX4" fmla="*/ 7100 w 9003"/>
                      <a:gd name="connsiteY4" fmla="*/ 10000 h 10000"/>
                      <a:gd name="connsiteX5" fmla="*/ 6888 w 9003"/>
                      <a:gd name="connsiteY5" fmla="*/ 10000 h 10000"/>
                      <a:gd name="connsiteX6" fmla="*/ 6888 w 9003"/>
                      <a:gd name="connsiteY6" fmla="*/ 2383 h 10000"/>
                      <a:gd name="connsiteX7" fmla="*/ 6103 w 9003"/>
                      <a:gd name="connsiteY7" fmla="*/ 2383 h 10000"/>
                      <a:gd name="connsiteX8" fmla="*/ 6103 w 9003"/>
                      <a:gd name="connsiteY8" fmla="*/ 10000 h 10000"/>
                      <a:gd name="connsiteX9" fmla="*/ 5831 w 9003"/>
                      <a:gd name="connsiteY9" fmla="*/ 10000 h 10000"/>
                      <a:gd name="connsiteX10" fmla="*/ 5831 w 9003"/>
                      <a:gd name="connsiteY10" fmla="*/ 5130 h 10000"/>
                      <a:gd name="connsiteX11" fmla="*/ 5045 w 9003"/>
                      <a:gd name="connsiteY11" fmla="*/ 5130 h 10000"/>
                      <a:gd name="connsiteX12" fmla="*/ 5045 w 9003"/>
                      <a:gd name="connsiteY12" fmla="*/ 10000 h 10000"/>
                      <a:gd name="connsiteX13" fmla="*/ 4834 w 9003"/>
                      <a:gd name="connsiteY13" fmla="*/ 10000 h 10000"/>
                      <a:gd name="connsiteX14" fmla="*/ 4834 w 9003"/>
                      <a:gd name="connsiteY14" fmla="*/ 6788 h 10000"/>
                      <a:gd name="connsiteX15" fmla="*/ 4018 w 9003"/>
                      <a:gd name="connsiteY15" fmla="*/ 6788 h 10000"/>
                      <a:gd name="connsiteX16" fmla="*/ 4018 w 9003"/>
                      <a:gd name="connsiteY16" fmla="*/ 10000 h 10000"/>
                      <a:gd name="connsiteX17" fmla="*/ 3807 w 9003"/>
                      <a:gd name="connsiteY17" fmla="*/ 10000 h 10000"/>
                      <a:gd name="connsiteX18" fmla="*/ 3807 w 9003"/>
                      <a:gd name="connsiteY18" fmla="*/ 7720 h 10000"/>
                      <a:gd name="connsiteX19" fmla="*/ 3021 w 9003"/>
                      <a:gd name="connsiteY19" fmla="*/ 7720 h 10000"/>
                      <a:gd name="connsiteX20" fmla="*/ 3021 w 9003"/>
                      <a:gd name="connsiteY20" fmla="*/ 10000 h 10000"/>
                      <a:gd name="connsiteX21" fmla="*/ 2779 w 9003"/>
                      <a:gd name="connsiteY21" fmla="*/ 10000 h 10000"/>
                      <a:gd name="connsiteX22" fmla="*/ 2779 w 9003"/>
                      <a:gd name="connsiteY22" fmla="*/ 8394 h 10000"/>
                      <a:gd name="connsiteX23" fmla="*/ 2024 w 9003"/>
                      <a:gd name="connsiteY23" fmla="*/ 8394 h 10000"/>
                      <a:gd name="connsiteX24" fmla="*/ 2024 w 9003"/>
                      <a:gd name="connsiteY24" fmla="*/ 10000 h 10000"/>
                      <a:gd name="connsiteX25" fmla="*/ 1782 w 9003"/>
                      <a:gd name="connsiteY25" fmla="*/ 10000 h 10000"/>
                      <a:gd name="connsiteX26" fmla="*/ 1782 w 9003"/>
                      <a:gd name="connsiteY26" fmla="*/ 8756 h 10000"/>
                      <a:gd name="connsiteX27" fmla="*/ 997 w 9003"/>
                      <a:gd name="connsiteY27" fmla="*/ 8756 h 10000"/>
                      <a:gd name="connsiteX28" fmla="*/ 997 w 9003"/>
                      <a:gd name="connsiteY28" fmla="*/ 10000 h 10000"/>
                      <a:gd name="connsiteX29" fmla="*/ 725 w 9003"/>
                      <a:gd name="connsiteY29" fmla="*/ 10000 h 10000"/>
                      <a:gd name="connsiteX30" fmla="*/ 725 w 9003"/>
                      <a:gd name="connsiteY30" fmla="*/ 9326 h 10000"/>
                      <a:gd name="connsiteX31" fmla="*/ 0 w 9003"/>
                      <a:gd name="connsiteY31" fmla="*/ 9326 h 10000"/>
                      <a:gd name="connsiteX32" fmla="*/ 0 w 9003"/>
                      <a:gd name="connsiteY32"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979 w 10000"/>
                      <a:gd name="connsiteY26" fmla="*/ 8756 h 10000"/>
                      <a:gd name="connsiteX27" fmla="*/ 1107 w 10000"/>
                      <a:gd name="connsiteY27" fmla="*/ 8756 h 10000"/>
                      <a:gd name="connsiteX28" fmla="*/ 1107 w 10000"/>
                      <a:gd name="connsiteY28" fmla="*/ 10000 h 10000"/>
                      <a:gd name="connsiteX29" fmla="*/ 805 w 10000"/>
                      <a:gd name="connsiteY29" fmla="*/ 10000 h 10000"/>
                      <a:gd name="connsiteX30" fmla="*/ 805 w 10000"/>
                      <a:gd name="connsiteY30" fmla="*/ 9326 h 10000"/>
                      <a:gd name="connsiteX31" fmla="*/ 0 w 10000"/>
                      <a:gd name="connsiteY31"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979 w 10000"/>
                      <a:gd name="connsiteY26" fmla="*/ 8756 h 10000"/>
                      <a:gd name="connsiteX27" fmla="*/ 1107 w 10000"/>
                      <a:gd name="connsiteY27" fmla="*/ 8756 h 10000"/>
                      <a:gd name="connsiteX28" fmla="*/ 1107 w 10000"/>
                      <a:gd name="connsiteY28" fmla="*/ 10000 h 10000"/>
                      <a:gd name="connsiteX29" fmla="*/ 805 w 10000"/>
                      <a:gd name="connsiteY29" fmla="*/ 10000 h 10000"/>
                      <a:gd name="connsiteX30" fmla="*/ 0 w 10000"/>
                      <a:gd name="connsiteY30"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979 w 10000"/>
                      <a:gd name="connsiteY26" fmla="*/ 8756 h 10000"/>
                      <a:gd name="connsiteX27" fmla="*/ 1107 w 10000"/>
                      <a:gd name="connsiteY27" fmla="*/ 10000 h 10000"/>
                      <a:gd name="connsiteX28" fmla="*/ 805 w 10000"/>
                      <a:gd name="connsiteY28" fmla="*/ 10000 h 10000"/>
                      <a:gd name="connsiteX29" fmla="*/ 0 w 10000"/>
                      <a:gd name="connsiteY29"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8394 h 10000"/>
                      <a:gd name="connsiteX24" fmla="*/ 2248 w 10000"/>
                      <a:gd name="connsiteY24" fmla="*/ 10000 h 10000"/>
                      <a:gd name="connsiteX25" fmla="*/ 1979 w 10000"/>
                      <a:gd name="connsiteY25" fmla="*/ 10000 h 10000"/>
                      <a:gd name="connsiteX26" fmla="*/ 1107 w 10000"/>
                      <a:gd name="connsiteY26" fmla="*/ 10000 h 10000"/>
                      <a:gd name="connsiteX27" fmla="*/ 805 w 10000"/>
                      <a:gd name="connsiteY27" fmla="*/ 10000 h 10000"/>
                      <a:gd name="connsiteX28" fmla="*/ 0 w 10000"/>
                      <a:gd name="connsiteY28"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10000 h 10000"/>
                      <a:gd name="connsiteX24" fmla="*/ 1979 w 10000"/>
                      <a:gd name="connsiteY24" fmla="*/ 10000 h 10000"/>
                      <a:gd name="connsiteX25" fmla="*/ 1107 w 10000"/>
                      <a:gd name="connsiteY25" fmla="*/ 10000 h 10000"/>
                      <a:gd name="connsiteX26" fmla="*/ 805 w 10000"/>
                      <a:gd name="connsiteY26" fmla="*/ 10000 h 10000"/>
                      <a:gd name="connsiteX27" fmla="*/ 0 w 10000"/>
                      <a:gd name="connsiteY27"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10000 h 10000"/>
                      <a:gd name="connsiteX24" fmla="*/ 1979 w 10000"/>
                      <a:gd name="connsiteY24" fmla="*/ 10000 h 10000"/>
                      <a:gd name="connsiteX25" fmla="*/ 1107 w 10000"/>
                      <a:gd name="connsiteY25" fmla="*/ 10000 h 10000"/>
                      <a:gd name="connsiteX26" fmla="*/ 0 w 10000"/>
                      <a:gd name="connsiteY26" fmla="*/ 10000 h 10000"/>
                      <a:gd name="connsiteX0" fmla="*/ 10000 w 10000"/>
                      <a:gd name="connsiteY0" fmla="*/ 10000 h 10000"/>
                      <a:gd name="connsiteX1" fmla="*/ 8792 w 10000"/>
                      <a:gd name="connsiteY1" fmla="*/ 10000 h 10000"/>
                      <a:gd name="connsiteX2" fmla="*/ 8792 w 10000"/>
                      <a:gd name="connsiteY2" fmla="*/ 0 h 10000"/>
                      <a:gd name="connsiteX3" fmla="*/ 7886 w 10000"/>
                      <a:gd name="connsiteY3" fmla="*/ 0 h 10000"/>
                      <a:gd name="connsiteX4" fmla="*/ 7886 w 10000"/>
                      <a:gd name="connsiteY4" fmla="*/ 10000 h 10000"/>
                      <a:gd name="connsiteX5" fmla="*/ 7651 w 10000"/>
                      <a:gd name="connsiteY5" fmla="*/ 10000 h 10000"/>
                      <a:gd name="connsiteX6" fmla="*/ 7651 w 10000"/>
                      <a:gd name="connsiteY6" fmla="*/ 2383 h 10000"/>
                      <a:gd name="connsiteX7" fmla="*/ 6779 w 10000"/>
                      <a:gd name="connsiteY7" fmla="*/ 2383 h 10000"/>
                      <a:gd name="connsiteX8" fmla="*/ 6779 w 10000"/>
                      <a:gd name="connsiteY8" fmla="*/ 10000 h 10000"/>
                      <a:gd name="connsiteX9" fmla="*/ 6477 w 10000"/>
                      <a:gd name="connsiteY9" fmla="*/ 10000 h 10000"/>
                      <a:gd name="connsiteX10" fmla="*/ 6477 w 10000"/>
                      <a:gd name="connsiteY10" fmla="*/ 5130 h 10000"/>
                      <a:gd name="connsiteX11" fmla="*/ 5604 w 10000"/>
                      <a:gd name="connsiteY11" fmla="*/ 5130 h 10000"/>
                      <a:gd name="connsiteX12" fmla="*/ 5604 w 10000"/>
                      <a:gd name="connsiteY12" fmla="*/ 10000 h 10000"/>
                      <a:gd name="connsiteX13" fmla="*/ 5369 w 10000"/>
                      <a:gd name="connsiteY13" fmla="*/ 10000 h 10000"/>
                      <a:gd name="connsiteX14" fmla="*/ 5369 w 10000"/>
                      <a:gd name="connsiteY14" fmla="*/ 6788 h 10000"/>
                      <a:gd name="connsiteX15" fmla="*/ 4463 w 10000"/>
                      <a:gd name="connsiteY15" fmla="*/ 6788 h 10000"/>
                      <a:gd name="connsiteX16" fmla="*/ 4463 w 10000"/>
                      <a:gd name="connsiteY16" fmla="*/ 10000 h 10000"/>
                      <a:gd name="connsiteX17" fmla="*/ 4229 w 10000"/>
                      <a:gd name="connsiteY17" fmla="*/ 10000 h 10000"/>
                      <a:gd name="connsiteX18" fmla="*/ 4229 w 10000"/>
                      <a:gd name="connsiteY18" fmla="*/ 7720 h 10000"/>
                      <a:gd name="connsiteX19" fmla="*/ 3356 w 10000"/>
                      <a:gd name="connsiteY19" fmla="*/ 7720 h 10000"/>
                      <a:gd name="connsiteX20" fmla="*/ 3356 w 10000"/>
                      <a:gd name="connsiteY20" fmla="*/ 10000 h 10000"/>
                      <a:gd name="connsiteX21" fmla="*/ 3087 w 10000"/>
                      <a:gd name="connsiteY21" fmla="*/ 10000 h 10000"/>
                      <a:gd name="connsiteX22" fmla="*/ 3087 w 10000"/>
                      <a:gd name="connsiteY22" fmla="*/ 8394 h 10000"/>
                      <a:gd name="connsiteX23" fmla="*/ 2248 w 10000"/>
                      <a:gd name="connsiteY23" fmla="*/ 10000 h 10000"/>
                      <a:gd name="connsiteX24" fmla="*/ 1979 w 10000"/>
                      <a:gd name="connsiteY24" fmla="*/ 10000 h 10000"/>
                      <a:gd name="connsiteX25" fmla="*/ 0 w 10000"/>
                      <a:gd name="connsiteY25" fmla="*/ 10000 h 10000"/>
                      <a:gd name="connsiteX0" fmla="*/ 8021 w 8021"/>
                      <a:gd name="connsiteY0" fmla="*/ 10000 h 10000"/>
                      <a:gd name="connsiteX1" fmla="*/ 6813 w 8021"/>
                      <a:gd name="connsiteY1" fmla="*/ 10000 h 10000"/>
                      <a:gd name="connsiteX2" fmla="*/ 6813 w 8021"/>
                      <a:gd name="connsiteY2" fmla="*/ 0 h 10000"/>
                      <a:gd name="connsiteX3" fmla="*/ 5907 w 8021"/>
                      <a:gd name="connsiteY3" fmla="*/ 0 h 10000"/>
                      <a:gd name="connsiteX4" fmla="*/ 5907 w 8021"/>
                      <a:gd name="connsiteY4" fmla="*/ 10000 h 10000"/>
                      <a:gd name="connsiteX5" fmla="*/ 5672 w 8021"/>
                      <a:gd name="connsiteY5" fmla="*/ 10000 h 10000"/>
                      <a:gd name="connsiteX6" fmla="*/ 5672 w 8021"/>
                      <a:gd name="connsiteY6" fmla="*/ 2383 h 10000"/>
                      <a:gd name="connsiteX7" fmla="*/ 4800 w 8021"/>
                      <a:gd name="connsiteY7" fmla="*/ 2383 h 10000"/>
                      <a:gd name="connsiteX8" fmla="*/ 4800 w 8021"/>
                      <a:gd name="connsiteY8" fmla="*/ 10000 h 10000"/>
                      <a:gd name="connsiteX9" fmla="*/ 4498 w 8021"/>
                      <a:gd name="connsiteY9" fmla="*/ 10000 h 10000"/>
                      <a:gd name="connsiteX10" fmla="*/ 4498 w 8021"/>
                      <a:gd name="connsiteY10" fmla="*/ 5130 h 10000"/>
                      <a:gd name="connsiteX11" fmla="*/ 3625 w 8021"/>
                      <a:gd name="connsiteY11" fmla="*/ 5130 h 10000"/>
                      <a:gd name="connsiteX12" fmla="*/ 3625 w 8021"/>
                      <a:gd name="connsiteY12" fmla="*/ 10000 h 10000"/>
                      <a:gd name="connsiteX13" fmla="*/ 3390 w 8021"/>
                      <a:gd name="connsiteY13" fmla="*/ 10000 h 10000"/>
                      <a:gd name="connsiteX14" fmla="*/ 3390 w 8021"/>
                      <a:gd name="connsiteY14" fmla="*/ 6788 h 10000"/>
                      <a:gd name="connsiteX15" fmla="*/ 2484 w 8021"/>
                      <a:gd name="connsiteY15" fmla="*/ 6788 h 10000"/>
                      <a:gd name="connsiteX16" fmla="*/ 2484 w 8021"/>
                      <a:gd name="connsiteY16" fmla="*/ 10000 h 10000"/>
                      <a:gd name="connsiteX17" fmla="*/ 2250 w 8021"/>
                      <a:gd name="connsiteY17" fmla="*/ 10000 h 10000"/>
                      <a:gd name="connsiteX18" fmla="*/ 2250 w 8021"/>
                      <a:gd name="connsiteY18" fmla="*/ 7720 h 10000"/>
                      <a:gd name="connsiteX19" fmla="*/ 1377 w 8021"/>
                      <a:gd name="connsiteY19" fmla="*/ 7720 h 10000"/>
                      <a:gd name="connsiteX20" fmla="*/ 1377 w 8021"/>
                      <a:gd name="connsiteY20" fmla="*/ 10000 h 10000"/>
                      <a:gd name="connsiteX21" fmla="*/ 1108 w 8021"/>
                      <a:gd name="connsiteY21" fmla="*/ 10000 h 10000"/>
                      <a:gd name="connsiteX22" fmla="*/ 1108 w 8021"/>
                      <a:gd name="connsiteY22" fmla="*/ 8394 h 10000"/>
                      <a:gd name="connsiteX23" fmla="*/ 269 w 8021"/>
                      <a:gd name="connsiteY23" fmla="*/ 10000 h 10000"/>
                      <a:gd name="connsiteX24" fmla="*/ 0 w 8021"/>
                      <a:gd name="connsiteY24" fmla="*/ 10000 h 10000"/>
                      <a:gd name="connsiteX0" fmla="*/ 9665 w 9665"/>
                      <a:gd name="connsiteY0" fmla="*/ 10000 h 10000"/>
                      <a:gd name="connsiteX1" fmla="*/ 8159 w 9665"/>
                      <a:gd name="connsiteY1" fmla="*/ 10000 h 10000"/>
                      <a:gd name="connsiteX2" fmla="*/ 8159 w 9665"/>
                      <a:gd name="connsiteY2" fmla="*/ 0 h 10000"/>
                      <a:gd name="connsiteX3" fmla="*/ 7029 w 9665"/>
                      <a:gd name="connsiteY3" fmla="*/ 0 h 10000"/>
                      <a:gd name="connsiteX4" fmla="*/ 7029 w 9665"/>
                      <a:gd name="connsiteY4" fmla="*/ 10000 h 10000"/>
                      <a:gd name="connsiteX5" fmla="*/ 6736 w 9665"/>
                      <a:gd name="connsiteY5" fmla="*/ 10000 h 10000"/>
                      <a:gd name="connsiteX6" fmla="*/ 6736 w 9665"/>
                      <a:gd name="connsiteY6" fmla="*/ 2383 h 10000"/>
                      <a:gd name="connsiteX7" fmla="*/ 5649 w 9665"/>
                      <a:gd name="connsiteY7" fmla="*/ 2383 h 10000"/>
                      <a:gd name="connsiteX8" fmla="*/ 5649 w 9665"/>
                      <a:gd name="connsiteY8" fmla="*/ 10000 h 10000"/>
                      <a:gd name="connsiteX9" fmla="*/ 5273 w 9665"/>
                      <a:gd name="connsiteY9" fmla="*/ 10000 h 10000"/>
                      <a:gd name="connsiteX10" fmla="*/ 5273 w 9665"/>
                      <a:gd name="connsiteY10" fmla="*/ 5130 h 10000"/>
                      <a:gd name="connsiteX11" fmla="*/ 4184 w 9665"/>
                      <a:gd name="connsiteY11" fmla="*/ 5130 h 10000"/>
                      <a:gd name="connsiteX12" fmla="*/ 4184 w 9665"/>
                      <a:gd name="connsiteY12" fmla="*/ 10000 h 10000"/>
                      <a:gd name="connsiteX13" fmla="*/ 3891 w 9665"/>
                      <a:gd name="connsiteY13" fmla="*/ 10000 h 10000"/>
                      <a:gd name="connsiteX14" fmla="*/ 3891 w 9665"/>
                      <a:gd name="connsiteY14" fmla="*/ 6788 h 10000"/>
                      <a:gd name="connsiteX15" fmla="*/ 2762 w 9665"/>
                      <a:gd name="connsiteY15" fmla="*/ 6788 h 10000"/>
                      <a:gd name="connsiteX16" fmla="*/ 2762 w 9665"/>
                      <a:gd name="connsiteY16" fmla="*/ 10000 h 10000"/>
                      <a:gd name="connsiteX17" fmla="*/ 2470 w 9665"/>
                      <a:gd name="connsiteY17" fmla="*/ 10000 h 10000"/>
                      <a:gd name="connsiteX18" fmla="*/ 2470 w 9665"/>
                      <a:gd name="connsiteY18" fmla="*/ 7720 h 10000"/>
                      <a:gd name="connsiteX19" fmla="*/ 1382 w 9665"/>
                      <a:gd name="connsiteY19" fmla="*/ 7720 h 10000"/>
                      <a:gd name="connsiteX20" fmla="*/ 1382 w 9665"/>
                      <a:gd name="connsiteY20" fmla="*/ 10000 h 10000"/>
                      <a:gd name="connsiteX21" fmla="*/ 1046 w 9665"/>
                      <a:gd name="connsiteY21" fmla="*/ 10000 h 10000"/>
                      <a:gd name="connsiteX22" fmla="*/ 1046 w 9665"/>
                      <a:gd name="connsiteY22" fmla="*/ 8394 h 10000"/>
                      <a:gd name="connsiteX23" fmla="*/ 0 w 9665"/>
                      <a:gd name="connsiteY23" fmla="*/ 10000 h 10000"/>
                      <a:gd name="connsiteX0" fmla="*/ 8918 w 8918"/>
                      <a:gd name="connsiteY0" fmla="*/ 10000 h 10000"/>
                      <a:gd name="connsiteX1" fmla="*/ 7360 w 8918"/>
                      <a:gd name="connsiteY1" fmla="*/ 10000 h 10000"/>
                      <a:gd name="connsiteX2" fmla="*/ 7360 w 8918"/>
                      <a:gd name="connsiteY2" fmla="*/ 0 h 10000"/>
                      <a:gd name="connsiteX3" fmla="*/ 6191 w 8918"/>
                      <a:gd name="connsiteY3" fmla="*/ 0 h 10000"/>
                      <a:gd name="connsiteX4" fmla="*/ 6191 w 8918"/>
                      <a:gd name="connsiteY4" fmla="*/ 10000 h 10000"/>
                      <a:gd name="connsiteX5" fmla="*/ 5887 w 8918"/>
                      <a:gd name="connsiteY5" fmla="*/ 10000 h 10000"/>
                      <a:gd name="connsiteX6" fmla="*/ 5887 w 8918"/>
                      <a:gd name="connsiteY6" fmla="*/ 2383 h 10000"/>
                      <a:gd name="connsiteX7" fmla="*/ 4763 w 8918"/>
                      <a:gd name="connsiteY7" fmla="*/ 2383 h 10000"/>
                      <a:gd name="connsiteX8" fmla="*/ 4763 w 8918"/>
                      <a:gd name="connsiteY8" fmla="*/ 10000 h 10000"/>
                      <a:gd name="connsiteX9" fmla="*/ 4374 w 8918"/>
                      <a:gd name="connsiteY9" fmla="*/ 10000 h 10000"/>
                      <a:gd name="connsiteX10" fmla="*/ 4374 w 8918"/>
                      <a:gd name="connsiteY10" fmla="*/ 5130 h 10000"/>
                      <a:gd name="connsiteX11" fmla="*/ 3247 w 8918"/>
                      <a:gd name="connsiteY11" fmla="*/ 5130 h 10000"/>
                      <a:gd name="connsiteX12" fmla="*/ 3247 w 8918"/>
                      <a:gd name="connsiteY12" fmla="*/ 10000 h 10000"/>
                      <a:gd name="connsiteX13" fmla="*/ 2944 w 8918"/>
                      <a:gd name="connsiteY13" fmla="*/ 10000 h 10000"/>
                      <a:gd name="connsiteX14" fmla="*/ 2944 w 8918"/>
                      <a:gd name="connsiteY14" fmla="*/ 6788 h 10000"/>
                      <a:gd name="connsiteX15" fmla="*/ 1776 w 8918"/>
                      <a:gd name="connsiteY15" fmla="*/ 6788 h 10000"/>
                      <a:gd name="connsiteX16" fmla="*/ 1776 w 8918"/>
                      <a:gd name="connsiteY16" fmla="*/ 10000 h 10000"/>
                      <a:gd name="connsiteX17" fmla="*/ 1474 w 8918"/>
                      <a:gd name="connsiteY17" fmla="*/ 10000 h 10000"/>
                      <a:gd name="connsiteX18" fmla="*/ 1474 w 8918"/>
                      <a:gd name="connsiteY18" fmla="*/ 7720 h 10000"/>
                      <a:gd name="connsiteX19" fmla="*/ 348 w 8918"/>
                      <a:gd name="connsiteY19" fmla="*/ 7720 h 10000"/>
                      <a:gd name="connsiteX20" fmla="*/ 348 w 8918"/>
                      <a:gd name="connsiteY20" fmla="*/ 10000 h 10000"/>
                      <a:gd name="connsiteX21" fmla="*/ 0 w 8918"/>
                      <a:gd name="connsiteY21" fmla="*/ 10000 h 10000"/>
                      <a:gd name="connsiteX22" fmla="*/ 0 w 8918"/>
                      <a:gd name="connsiteY22" fmla="*/ 8394 h 10000"/>
                      <a:gd name="connsiteX0" fmla="*/ 10000 w 10000"/>
                      <a:gd name="connsiteY0" fmla="*/ 10000 h 10000"/>
                      <a:gd name="connsiteX1" fmla="*/ 8253 w 10000"/>
                      <a:gd name="connsiteY1" fmla="*/ 10000 h 10000"/>
                      <a:gd name="connsiteX2" fmla="*/ 8253 w 10000"/>
                      <a:gd name="connsiteY2" fmla="*/ 0 h 10000"/>
                      <a:gd name="connsiteX3" fmla="*/ 6942 w 10000"/>
                      <a:gd name="connsiteY3" fmla="*/ 0 h 10000"/>
                      <a:gd name="connsiteX4" fmla="*/ 6942 w 10000"/>
                      <a:gd name="connsiteY4" fmla="*/ 10000 h 10000"/>
                      <a:gd name="connsiteX5" fmla="*/ 6601 w 10000"/>
                      <a:gd name="connsiteY5" fmla="*/ 10000 h 10000"/>
                      <a:gd name="connsiteX6" fmla="*/ 6601 w 10000"/>
                      <a:gd name="connsiteY6" fmla="*/ 2383 h 10000"/>
                      <a:gd name="connsiteX7" fmla="*/ 5341 w 10000"/>
                      <a:gd name="connsiteY7" fmla="*/ 2383 h 10000"/>
                      <a:gd name="connsiteX8" fmla="*/ 5341 w 10000"/>
                      <a:gd name="connsiteY8" fmla="*/ 10000 h 10000"/>
                      <a:gd name="connsiteX9" fmla="*/ 4905 w 10000"/>
                      <a:gd name="connsiteY9" fmla="*/ 10000 h 10000"/>
                      <a:gd name="connsiteX10" fmla="*/ 4905 w 10000"/>
                      <a:gd name="connsiteY10" fmla="*/ 5130 h 10000"/>
                      <a:gd name="connsiteX11" fmla="*/ 3641 w 10000"/>
                      <a:gd name="connsiteY11" fmla="*/ 5130 h 10000"/>
                      <a:gd name="connsiteX12" fmla="*/ 3641 w 10000"/>
                      <a:gd name="connsiteY12" fmla="*/ 10000 h 10000"/>
                      <a:gd name="connsiteX13" fmla="*/ 3301 w 10000"/>
                      <a:gd name="connsiteY13" fmla="*/ 10000 h 10000"/>
                      <a:gd name="connsiteX14" fmla="*/ 3301 w 10000"/>
                      <a:gd name="connsiteY14" fmla="*/ 6788 h 10000"/>
                      <a:gd name="connsiteX15" fmla="*/ 1991 w 10000"/>
                      <a:gd name="connsiteY15" fmla="*/ 6788 h 10000"/>
                      <a:gd name="connsiteX16" fmla="*/ 1991 w 10000"/>
                      <a:gd name="connsiteY16" fmla="*/ 10000 h 10000"/>
                      <a:gd name="connsiteX17" fmla="*/ 1653 w 10000"/>
                      <a:gd name="connsiteY17" fmla="*/ 10000 h 10000"/>
                      <a:gd name="connsiteX18" fmla="*/ 1653 w 10000"/>
                      <a:gd name="connsiteY18" fmla="*/ 7720 h 10000"/>
                      <a:gd name="connsiteX19" fmla="*/ 390 w 10000"/>
                      <a:gd name="connsiteY19" fmla="*/ 7720 h 10000"/>
                      <a:gd name="connsiteX20" fmla="*/ 390 w 10000"/>
                      <a:gd name="connsiteY20" fmla="*/ 10000 h 10000"/>
                      <a:gd name="connsiteX21" fmla="*/ 0 w 10000"/>
                      <a:gd name="connsiteY21" fmla="*/ 10000 h 10000"/>
                      <a:gd name="connsiteX0" fmla="*/ 9610 w 9610"/>
                      <a:gd name="connsiteY0" fmla="*/ 10000 h 10000"/>
                      <a:gd name="connsiteX1" fmla="*/ 7863 w 9610"/>
                      <a:gd name="connsiteY1" fmla="*/ 10000 h 10000"/>
                      <a:gd name="connsiteX2" fmla="*/ 7863 w 9610"/>
                      <a:gd name="connsiteY2" fmla="*/ 0 h 10000"/>
                      <a:gd name="connsiteX3" fmla="*/ 6552 w 9610"/>
                      <a:gd name="connsiteY3" fmla="*/ 0 h 10000"/>
                      <a:gd name="connsiteX4" fmla="*/ 6552 w 9610"/>
                      <a:gd name="connsiteY4" fmla="*/ 10000 h 10000"/>
                      <a:gd name="connsiteX5" fmla="*/ 6211 w 9610"/>
                      <a:gd name="connsiteY5" fmla="*/ 10000 h 10000"/>
                      <a:gd name="connsiteX6" fmla="*/ 6211 w 9610"/>
                      <a:gd name="connsiteY6" fmla="*/ 2383 h 10000"/>
                      <a:gd name="connsiteX7" fmla="*/ 4951 w 9610"/>
                      <a:gd name="connsiteY7" fmla="*/ 2383 h 10000"/>
                      <a:gd name="connsiteX8" fmla="*/ 4951 w 9610"/>
                      <a:gd name="connsiteY8" fmla="*/ 10000 h 10000"/>
                      <a:gd name="connsiteX9" fmla="*/ 4515 w 9610"/>
                      <a:gd name="connsiteY9" fmla="*/ 10000 h 10000"/>
                      <a:gd name="connsiteX10" fmla="*/ 4515 w 9610"/>
                      <a:gd name="connsiteY10" fmla="*/ 5130 h 10000"/>
                      <a:gd name="connsiteX11" fmla="*/ 3251 w 9610"/>
                      <a:gd name="connsiteY11" fmla="*/ 5130 h 10000"/>
                      <a:gd name="connsiteX12" fmla="*/ 3251 w 9610"/>
                      <a:gd name="connsiteY12" fmla="*/ 10000 h 10000"/>
                      <a:gd name="connsiteX13" fmla="*/ 2911 w 9610"/>
                      <a:gd name="connsiteY13" fmla="*/ 10000 h 10000"/>
                      <a:gd name="connsiteX14" fmla="*/ 2911 w 9610"/>
                      <a:gd name="connsiteY14" fmla="*/ 6788 h 10000"/>
                      <a:gd name="connsiteX15" fmla="*/ 1601 w 9610"/>
                      <a:gd name="connsiteY15" fmla="*/ 6788 h 10000"/>
                      <a:gd name="connsiteX16" fmla="*/ 1601 w 9610"/>
                      <a:gd name="connsiteY16" fmla="*/ 10000 h 10000"/>
                      <a:gd name="connsiteX17" fmla="*/ 1263 w 9610"/>
                      <a:gd name="connsiteY17" fmla="*/ 10000 h 10000"/>
                      <a:gd name="connsiteX18" fmla="*/ 1263 w 9610"/>
                      <a:gd name="connsiteY18" fmla="*/ 7720 h 10000"/>
                      <a:gd name="connsiteX19" fmla="*/ 0 w 9610"/>
                      <a:gd name="connsiteY19" fmla="*/ 7720 h 10000"/>
                      <a:gd name="connsiteX20" fmla="*/ 0 w 9610"/>
                      <a:gd name="connsiteY20" fmla="*/ 10000 h 10000"/>
                      <a:gd name="connsiteX0" fmla="*/ 10000 w 10000"/>
                      <a:gd name="connsiteY0" fmla="*/ 10000 h 10000"/>
                      <a:gd name="connsiteX1" fmla="*/ 8182 w 10000"/>
                      <a:gd name="connsiteY1" fmla="*/ 10000 h 10000"/>
                      <a:gd name="connsiteX2" fmla="*/ 8182 w 10000"/>
                      <a:gd name="connsiteY2" fmla="*/ 0 h 10000"/>
                      <a:gd name="connsiteX3" fmla="*/ 6818 w 10000"/>
                      <a:gd name="connsiteY3" fmla="*/ 0 h 10000"/>
                      <a:gd name="connsiteX4" fmla="*/ 6818 w 10000"/>
                      <a:gd name="connsiteY4" fmla="*/ 10000 h 10000"/>
                      <a:gd name="connsiteX5" fmla="*/ 6463 w 10000"/>
                      <a:gd name="connsiteY5" fmla="*/ 10000 h 10000"/>
                      <a:gd name="connsiteX6" fmla="*/ 6463 w 10000"/>
                      <a:gd name="connsiteY6" fmla="*/ 2383 h 10000"/>
                      <a:gd name="connsiteX7" fmla="*/ 5152 w 10000"/>
                      <a:gd name="connsiteY7" fmla="*/ 2383 h 10000"/>
                      <a:gd name="connsiteX8" fmla="*/ 5152 w 10000"/>
                      <a:gd name="connsiteY8" fmla="*/ 10000 h 10000"/>
                      <a:gd name="connsiteX9" fmla="*/ 4698 w 10000"/>
                      <a:gd name="connsiteY9" fmla="*/ 10000 h 10000"/>
                      <a:gd name="connsiteX10" fmla="*/ 4698 w 10000"/>
                      <a:gd name="connsiteY10" fmla="*/ 5130 h 10000"/>
                      <a:gd name="connsiteX11" fmla="*/ 3383 w 10000"/>
                      <a:gd name="connsiteY11" fmla="*/ 5130 h 10000"/>
                      <a:gd name="connsiteX12" fmla="*/ 3383 w 10000"/>
                      <a:gd name="connsiteY12" fmla="*/ 10000 h 10000"/>
                      <a:gd name="connsiteX13" fmla="*/ 3029 w 10000"/>
                      <a:gd name="connsiteY13" fmla="*/ 10000 h 10000"/>
                      <a:gd name="connsiteX14" fmla="*/ 3029 w 10000"/>
                      <a:gd name="connsiteY14" fmla="*/ 6788 h 10000"/>
                      <a:gd name="connsiteX15" fmla="*/ 1666 w 10000"/>
                      <a:gd name="connsiteY15" fmla="*/ 6788 h 10000"/>
                      <a:gd name="connsiteX16" fmla="*/ 1666 w 10000"/>
                      <a:gd name="connsiteY16" fmla="*/ 10000 h 10000"/>
                      <a:gd name="connsiteX17" fmla="*/ 1314 w 10000"/>
                      <a:gd name="connsiteY17" fmla="*/ 10000 h 10000"/>
                      <a:gd name="connsiteX18" fmla="*/ 1314 w 10000"/>
                      <a:gd name="connsiteY18" fmla="*/ 7720 h 10000"/>
                      <a:gd name="connsiteX19" fmla="*/ 0 w 10000"/>
                      <a:gd name="connsiteY19" fmla="*/ 7720 h 10000"/>
                      <a:gd name="connsiteX0" fmla="*/ 8686 w 8686"/>
                      <a:gd name="connsiteY0" fmla="*/ 10000 h 10000"/>
                      <a:gd name="connsiteX1" fmla="*/ 6868 w 8686"/>
                      <a:gd name="connsiteY1" fmla="*/ 10000 h 10000"/>
                      <a:gd name="connsiteX2" fmla="*/ 6868 w 8686"/>
                      <a:gd name="connsiteY2" fmla="*/ 0 h 10000"/>
                      <a:gd name="connsiteX3" fmla="*/ 5504 w 8686"/>
                      <a:gd name="connsiteY3" fmla="*/ 0 h 10000"/>
                      <a:gd name="connsiteX4" fmla="*/ 5504 w 8686"/>
                      <a:gd name="connsiteY4" fmla="*/ 10000 h 10000"/>
                      <a:gd name="connsiteX5" fmla="*/ 5149 w 8686"/>
                      <a:gd name="connsiteY5" fmla="*/ 10000 h 10000"/>
                      <a:gd name="connsiteX6" fmla="*/ 5149 w 8686"/>
                      <a:gd name="connsiteY6" fmla="*/ 2383 h 10000"/>
                      <a:gd name="connsiteX7" fmla="*/ 3838 w 8686"/>
                      <a:gd name="connsiteY7" fmla="*/ 2383 h 10000"/>
                      <a:gd name="connsiteX8" fmla="*/ 3838 w 8686"/>
                      <a:gd name="connsiteY8" fmla="*/ 10000 h 10000"/>
                      <a:gd name="connsiteX9" fmla="*/ 3384 w 8686"/>
                      <a:gd name="connsiteY9" fmla="*/ 10000 h 10000"/>
                      <a:gd name="connsiteX10" fmla="*/ 3384 w 8686"/>
                      <a:gd name="connsiteY10" fmla="*/ 5130 h 10000"/>
                      <a:gd name="connsiteX11" fmla="*/ 2069 w 8686"/>
                      <a:gd name="connsiteY11" fmla="*/ 5130 h 10000"/>
                      <a:gd name="connsiteX12" fmla="*/ 2069 w 8686"/>
                      <a:gd name="connsiteY12" fmla="*/ 10000 h 10000"/>
                      <a:gd name="connsiteX13" fmla="*/ 1715 w 8686"/>
                      <a:gd name="connsiteY13" fmla="*/ 10000 h 10000"/>
                      <a:gd name="connsiteX14" fmla="*/ 1715 w 8686"/>
                      <a:gd name="connsiteY14" fmla="*/ 6788 h 10000"/>
                      <a:gd name="connsiteX15" fmla="*/ 352 w 8686"/>
                      <a:gd name="connsiteY15" fmla="*/ 6788 h 10000"/>
                      <a:gd name="connsiteX16" fmla="*/ 352 w 8686"/>
                      <a:gd name="connsiteY16" fmla="*/ 10000 h 10000"/>
                      <a:gd name="connsiteX17" fmla="*/ 0 w 8686"/>
                      <a:gd name="connsiteY17" fmla="*/ 10000 h 10000"/>
                      <a:gd name="connsiteX18" fmla="*/ 0 w 8686"/>
                      <a:gd name="connsiteY18" fmla="*/ 7720 h 10000"/>
                      <a:gd name="connsiteX0" fmla="*/ 10000 w 10000"/>
                      <a:gd name="connsiteY0" fmla="*/ 10000 h 10000"/>
                      <a:gd name="connsiteX1" fmla="*/ 7907 w 10000"/>
                      <a:gd name="connsiteY1" fmla="*/ 10000 h 10000"/>
                      <a:gd name="connsiteX2" fmla="*/ 7907 w 10000"/>
                      <a:gd name="connsiteY2" fmla="*/ 0 h 10000"/>
                      <a:gd name="connsiteX3" fmla="*/ 6337 w 10000"/>
                      <a:gd name="connsiteY3" fmla="*/ 0 h 10000"/>
                      <a:gd name="connsiteX4" fmla="*/ 6337 w 10000"/>
                      <a:gd name="connsiteY4" fmla="*/ 10000 h 10000"/>
                      <a:gd name="connsiteX5" fmla="*/ 5928 w 10000"/>
                      <a:gd name="connsiteY5" fmla="*/ 10000 h 10000"/>
                      <a:gd name="connsiteX6" fmla="*/ 5928 w 10000"/>
                      <a:gd name="connsiteY6" fmla="*/ 2383 h 10000"/>
                      <a:gd name="connsiteX7" fmla="*/ 4419 w 10000"/>
                      <a:gd name="connsiteY7" fmla="*/ 2383 h 10000"/>
                      <a:gd name="connsiteX8" fmla="*/ 4419 w 10000"/>
                      <a:gd name="connsiteY8" fmla="*/ 10000 h 10000"/>
                      <a:gd name="connsiteX9" fmla="*/ 3896 w 10000"/>
                      <a:gd name="connsiteY9" fmla="*/ 10000 h 10000"/>
                      <a:gd name="connsiteX10" fmla="*/ 3896 w 10000"/>
                      <a:gd name="connsiteY10" fmla="*/ 5130 h 10000"/>
                      <a:gd name="connsiteX11" fmla="*/ 2382 w 10000"/>
                      <a:gd name="connsiteY11" fmla="*/ 5130 h 10000"/>
                      <a:gd name="connsiteX12" fmla="*/ 2382 w 10000"/>
                      <a:gd name="connsiteY12" fmla="*/ 10000 h 10000"/>
                      <a:gd name="connsiteX13" fmla="*/ 1974 w 10000"/>
                      <a:gd name="connsiteY13" fmla="*/ 10000 h 10000"/>
                      <a:gd name="connsiteX14" fmla="*/ 1974 w 10000"/>
                      <a:gd name="connsiteY14" fmla="*/ 6788 h 10000"/>
                      <a:gd name="connsiteX15" fmla="*/ 405 w 10000"/>
                      <a:gd name="connsiteY15" fmla="*/ 6788 h 10000"/>
                      <a:gd name="connsiteX16" fmla="*/ 405 w 10000"/>
                      <a:gd name="connsiteY16" fmla="*/ 10000 h 10000"/>
                      <a:gd name="connsiteX17" fmla="*/ 0 w 10000"/>
                      <a:gd name="connsiteY17" fmla="*/ 10000 h 10000"/>
                      <a:gd name="connsiteX0" fmla="*/ 9595 w 9595"/>
                      <a:gd name="connsiteY0" fmla="*/ 10000 h 10000"/>
                      <a:gd name="connsiteX1" fmla="*/ 7502 w 9595"/>
                      <a:gd name="connsiteY1" fmla="*/ 10000 h 10000"/>
                      <a:gd name="connsiteX2" fmla="*/ 7502 w 9595"/>
                      <a:gd name="connsiteY2" fmla="*/ 0 h 10000"/>
                      <a:gd name="connsiteX3" fmla="*/ 5932 w 9595"/>
                      <a:gd name="connsiteY3" fmla="*/ 0 h 10000"/>
                      <a:gd name="connsiteX4" fmla="*/ 5932 w 9595"/>
                      <a:gd name="connsiteY4" fmla="*/ 10000 h 10000"/>
                      <a:gd name="connsiteX5" fmla="*/ 5523 w 9595"/>
                      <a:gd name="connsiteY5" fmla="*/ 10000 h 10000"/>
                      <a:gd name="connsiteX6" fmla="*/ 5523 w 9595"/>
                      <a:gd name="connsiteY6" fmla="*/ 2383 h 10000"/>
                      <a:gd name="connsiteX7" fmla="*/ 4014 w 9595"/>
                      <a:gd name="connsiteY7" fmla="*/ 2383 h 10000"/>
                      <a:gd name="connsiteX8" fmla="*/ 4014 w 9595"/>
                      <a:gd name="connsiteY8" fmla="*/ 10000 h 10000"/>
                      <a:gd name="connsiteX9" fmla="*/ 3491 w 9595"/>
                      <a:gd name="connsiteY9" fmla="*/ 10000 h 10000"/>
                      <a:gd name="connsiteX10" fmla="*/ 3491 w 9595"/>
                      <a:gd name="connsiteY10" fmla="*/ 5130 h 10000"/>
                      <a:gd name="connsiteX11" fmla="*/ 1977 w 9595"/>
                      <a:gd name="connsiteY11" fmla="*/ 5130 h 10000"/>
                      <a:gd name="connsiteX12" fmla="*/ 1977 w 9595"/>
                      <a:gd name="connsiteY12" fmla="*/ 10000 h 10000"/>
                      <a:gd name="connsiteX13" fmla="*/ 1569 w 9595"/>
                      <a:gd name="connsiteY13" fmla="*/ 10000 h 10000"/>
                      <a:gd name="connsiteX14" fmla="*/ 1569 w 9595"/>
                      <a:gd name="connsiteY14" fmla="*/ 6788 h 10000"/>
                      <a:gd name="connsiteX15" fmla="*/ 0 w 9595"/>
                      <a:gd name="connsiteY15" fmla="*/ 6788 h 10000"/>
                      <a:gd name="connsiteX16" fmla="*/ 0 w 9595"/>
                      <a:gd name="connsiteY16" fmla="*/ 10000 h 10000"/>
                      <a:gd name="connsiteX0" fmla="*/ 10000 w 10000"/>
                      <a:gd name="connsiteY0" fmla="*/ 10000 h 10000"/>
                      <a:gd name="connsiteX1" fmla="*/ 7819 w 10000"/>
                      <a:gd name="connsiteY1" fmla="*/ 10000 h 10000"/>
                      <a:gd name="connsiteX2" fmla="*/ 7819 w 10000"/>
                      <a:gd name="connsiteY2" fmla="*/ 0 h 10000"/>
                      <a:gd name="connsiteX3" fmla="*/ 6182 w 10000"/>
                      <a:gd name="connsiteY3" fmla="*/ 0 h 10000"/>
                      <a:gd name="connsiteX4" fmla="*/ 6182 w 10000"/>
                      <a:gd name="connsiteY4" fmla="*/ 10000 h 10000"/>
                      <a:gd name="connsiteX5" fmla="*/ 5756 w 10000"/>
                      <a:gd name="connsiteY5" fmla="*/ 10000 h 10000"/>
                      <a:gd name="connsiteX6" fmla="*/ 5756 w 10000"/>
                      <a:gd name="connsiteY6" fmla="*/ 2383 h 10000"/>
                      <a:gd name="connsiteX7" fmla="*/ 4183 w 10000"/>
                      <a:gd name="connsiteY7" fmla="*/ 2383 h 10000"/>
                      <a:gd name="connsiteX8" fmla="*/ 4183 w 10000"/>
                      <a:gd name="connsiteY8" fmla="*/ 10000 h 10000"/>
                      <a:gd name="connsiteX9" fmla="*/ 3638 w 10000"/>
                      <a:gd name="connsiteY9" fmla="*/ 10000 h 10000"/>
                      <a:gd name="connsiteX10" fmla="*/ 3638 w 10000"/>
                      <a:gd name="connsiteY10" fmla="*/ 5130 h 10000"/>
                      <a:gd name="connsiteX11" fmla="*/ 2060 w 10000"/>
                      <a:gd name="connsiteY11" fmla="*/ 5130 h 10000"/>
                      <a:gd name="connsiteX12" fmla="*/ 2060 w 10000"/>
                      <a:gd name="connsiteY12" fmla="*/ 10000 h 10000"/>
                      <a:gd name="connsiteX13" fmla="*/ 1635 w 10000"/>
                      <a:gd name="connsiteY13" fmla="*/ 10000 h 10000"/>
                      <a:gd name="connsiteX14" fmla="*/ 1635 w 10000"/>
                      <a:gd name="connsiteY14" fmla="*/ 6788 h 10000"/>
                      <a:gd name="connsiteX15" fmla="*/ 0 w 10000"/>
                      <a:gd name="connsiteY15" fmla="*/ 6788 h 10000"/>
                      <a:gd name="connsiteX0" fmla="*/ 8365 w 8365"/>
                      <a:gd name="connsiteY0" fmla="*/ 10000 h 10000"/>
                      <a:gd name="connsiteX1" fmla="*/ 6184 w 8365"/>
                      <a:gd name="connsiteY1" fmla="*/ 10000 h 10000"/>
                      <a:gd name="connsiteX2" fmla="*/ 6184 w 8365"/>
                      <a:gd name="connsiteY2" fmla="*/ 0 h 10000"/>
                      <a:gd name="connsiteX3" fmla="*/ 4547 w 8365"/>
                      <a:gd name="connsiteY3" fmla="*/ 0 h 10000"/>
                      <a:gd name="connsiteX4" fmla="*/ 4547 w 8365"/>
                      <a:gd name="connsiteY4" fmla="*/ 10000 h 10000"/>
                      <a:gd name="connsiteX5" fmla="*/ 4121 w 8365"/>
                      <a:gd name="connsiteY5" fmla="*/ 10000 h 10000"/>
                      <a:gd name="connsiteX6" fmla="*/ 4121 w 8365"/>
                      <a:gd name="connsiteY6" fmla="*/ 2383 h 10000"/>
                      <a:gd name="connsiteX7" fmla="*/ 2548 w 8365"/>
                      <a:gd name="connsiteY7" fmla="*/ 2383 h 10000"/>
                      <a:gd name="connsiteX8" fmla="*/ 2548 w 8365"/>
                      <a:gd name="connsiteY8" fmla="*/ 10000 h 10000"/>
                      <a:gd name="connsiteX9" fmla="*/ 2003 w 8365"/>
                      <a:gd name="connsiteY9" fmla="*/ 10000 h 10000"/>
                      <a:gd name="connsiteX10" fmla="*/ 2003 w 8365"/>
                      <a:gd name="connsiteY10" fmla="*/ 5130 h 10000"/>
                      <a:gd name="connsiteX11" fmla="*/ 425 w 8365"/>
                      <a:gd name="connsiteY11" fmla="*/ 5130 h 10000"/>
                      <a:gd name="connsiteX12" fmla="*/ 425 w 8365"/>
                      <a:gd name="connsiteY12" fmla="*/ 10000 h 10000"/>
                      <a:gd name="connsiteX13" fmla="*/ 0 w 8365"/>
                      <a:gd name="connsiteY13" fmla="*/ 10000 h 10000"/>
                      <a:gd name="connsiteX14" fmla="*/ 0 w 8365"/>
                      <a:gd name="connsiteY14" fmla="*/ 6788 h 10000"/>
                      <a:gd name="connsiteX0" fmla="*/ 10000 w 10000"/>
                      <a:gd name="connsiteY0" fmla="*/ 10000 h 10000"/>
                      <a:gd name="connsiteX1" fmla="*/ 7393 w 10000"/>
                      <a:gd name="connsiteY1" fmla="*/ 10000 h 10000"/>
                      <a:gd name="connsiteX2" fmla="*/ 7393 w 10000"/>
                      <a:gd name="connsiteY2" fmla="*/ 0 h 10000"/>
                      <a:gd name="connsiteX3" fmla="*/ 5436 w 10000"/>
                      <a:gd name="connsiteY3" fmla="*/ 0 h 10000"/>
                      <a:gd name="connsiteX4" fmla="*/ 5436 w 10000"/>
                      <a:gd name="connsiteY4" fmla="*/ 10000 h 10000"/>
                      <a:gd name="connsiteX5" fmla="*/ 4926 w 10000"/>
                      <a:gd name="connsiteY5" fmla="*/ 10000 h 10000"/>
                      <a:gd name="connsiteX6" fmla="*/ 4926 w 10000"/>
                      <a:gd name="connsiteY6" fmla="*/ 2383 h 10000"/>
                      <a:gd name="connsiteX7" fmla="*/ 3046 w 10000"/>
                      <a:gd name="connsiteY7" fmla="*/ 2383 h 10000"/>
                      <a:gd name="connsiteX8" fmla="*/ 3046 w 10000"/>
                      <a:gd name="connsiteY8" fmla="*/ 10000 h 10000"/>
                      <a:gd name="connsiteX9" fmla="*/ 2395 w 10000"/>
                      <a:gd name="connsiteY9" fmla="*/ 10000 h 10000"/>
                      <a:gd name="connsiteX10" fmla="*/ 2395 w 10000"/>
                      <a:gd name="connsiteY10" fmla="*/ 5130 h 10000"/>
                      <a:gd name="connsiteX11" fmla="*/ 508 w 10000"/>
                      <a:gd name="connsiteY11" fmla="*/ 5130 h 10000"/>
                      <a:gd name="connsiteX12" fmla="*/ 508 w 10000"/>
                      <a:gd name="connsiteY12" fmla="*/ 10000 h 10000"/>
                      <a:gd name="connsiteX13" fmla="*/ 0 w 10000"/>
                      <a:gd name="connsiteY13" fmla="*/ 10000 h 10000"/>
                      <a:gd name="connsiteX0" fmla="*/ 9492 w 9492"/>
                      <a:gd name="connsiteY0" fmla="*/ 10000 h 10000"/>
                      <a:gd name="connsiteX1" fmla="*/ 6885 w 9492"/>
                      <a:gd name="connsiteY1" fmla="*/ 10000 h 10000"/>
                      <a:gd name="connsiteX2" fmla="*/ 6885 w 9492"/>
                      <a:gd name="connsiteY2" fmla="*/ 0 h 10000"/>
                      <a:gd name="connsiteX3" fmla="*/ 4928 w 9492"/>
                      <a:gd name="connsiteY3" fmla="*/ 0 h 10000"/>
                      <a:gd name="connsiteX4" fmla="*/ 4928 w 9492"/>
                      <a:gd name="connsiteY4" fmla="*/ 10000 h 10000"/>
                      <a:gd name="connsiteX5" fmla="*/ 4418 w 9492"/>
                      <a:gd name="connsiteY5" fmla="*/ 10000 h 10000"/>
                      <a:gd name="connsiteX6" fmla="*/ 4418 w 9492"/>
                      <a:gd name="connsiteY6" fmla="*/ 2383 h 10000"/>
                      <a:gd name="connsiteX7" fmla="*/ 2538 w 9492"/>
                      <a:gd name="connsiteY7" fmla="*/ 2383 h 10000"/>
                      <a:gd name="connsiteX8" fmla="*/ 2538 w 9492"/>
                      <a:gd name="connsiteY8" fmla="*/ 10000 h 10000"/>
                      <a:gd name="connsiteX9" fmla="*/ 1887 w 9492"/>
                      <a:gd name="connsiteY9" fmla="*/ 10000 h 10000"/>
                      <a:gd name="connsiteX10" fmla="*/ 1887 w 9492"/>
                      <a:gd name="connsiteY10" fmla="*/ 5130 h 10000"/>
                      <a:gd name="connsiteX11" fmla="*/ 0 w 9492"/>
                      <a:gd name="connsiteY11" fmla="*/ 5130 h 10000"/>
                      <a:gd name="connsiteX12" fmla="*/ 0 w 9492"/>
                      <a:gd name="connsiteY12" fmla="*/ 10000 h 10000"/>
                      <a:gd name="connsiteX0" fmla="*/ 10000 w 10000"/>
                      <a:gd name="connsiteY0" fmla="*/ 10000 h 10000"/>
                      <a:gd name="connsiteX1" fmla="*/ 7253 w 10000"/>
                      <a:gd name="connsiteY1" fmla="*/ 10000 h 10000"/>
                      <a:gd name="connsiteX2" fmla="*/ 7253 w 10000"/>
                      <a:gd name="connsiteY2" fmla="*/ 0 h 10000"/>
                      <a:gd name="connsiteX3" fmla="*/ 5192 w 10000"/>
                      <a:gd name="connsiteY3" fmla="*/ 0 h 10000"/>
                      <a:gd name="connsiteX4" fmla="*/ 5192 w 10000"/>
                      <a:gd name="connsiteY4" fmla="*/ 10000 h 10000"/>
                      <a:gd name="connsiteX5" fmla="*/ 4654 w 10000"/>
                      <a:gd name="connsiteY5" fmla="*/ 10000 h 10000"/>
                      <a:gd name="connsiteX6" fmla="*/ 4654 w 10000"/>
                      <a:gd name="connsiteY6" fmla="*/ 2383 h 10000"/>
                      <a:gd name="connsiteX7" fmla="*/ 2674 w 10000"/>
                      <a:gd name="connsiteY7" fmla="*/ 2383 h 10000"/>
                      <a:gd name="connsiteX8" fmla="*/ 2738 w 10000"/>
                      <a:gd name="connsiteY8" fmla="*/ 2701 h 10000"/>
                      <a:gd name="connsiteX9" fmla="*/ 2674 w 10000"/>
                      <a:gd name="connsiteY9" fmla="*/ 10000 h 10000"/>
                      <a:gd name="connsiteX10" fmla="*/ 1988 w 10000"/>
                      <a:gd name="connsiteY10" fmla="*/ 10000 h 10000"/>
                      <a:gd name="connsiteX11" fmla="*/ 1988 w 10000"/>
                      <a:gd name="connsiteY11" fmla="*/ 5130 h 10000"/>
                      <a:gd name="connsiteX12" fmla="*/ 0 w 10000"/>
                      <a:gd name="connsiteY12" fmla="*/ 5130 h 10000"/>
                      <a:gd name="connsiteX13" fmla="*/ 0 w 10000"/>
                      <a:gd name="connsiteY13" fmla="*/ 10000 h 10000"/>
                      <a:gd name="connsiteX0" fmla="*/ 10000 w 10000"/>
                      <a:gd name="connsiteY0" fmla="*/ 10000 h 10000"/>
                      <a:gd name="connsiteX1" fmla="*/ 7253 w 10000"/>
                      <a:gd name="connsiteY1" fmla="*/ 10000 h 10000"/>
                      <a:gd name="connsiteX2" fmla="*/ 7253 w 10000"/>
                      <a:gd name="connsiteY2" fmla="*/ 0 h 10000"/>
                      <a:gd name="connsiteX3" fmla="*/ 5192 w 10000"/>
                      <a:gd name="connsiteY3" fmla="*/ 0 h 10000"/>
                      <a:gd name="connsiteX4" fmla="*/ 5192 w 10000"/>
                      <a:gd name="connsiteY4" fmla="*/ 10000 h 10000"/>
                      <a:gd name="connsiteX5" fmla="*/ 4654 w 10000"/>
                      <a:gd name="connsiteY5" fmla="*/ 10000 h 10000"/>
                      <a:gd name="connsiteX6" fmla="*/ 4654 w 10000"/>
                      <a:gd name="connsiteY6" fmla="*/ 2383 h 10000"/>
                      <a:gd name="connsiteX7" fmla="*/ 2674 w 10000"/>
                      <a:gd name="connsiteY7" fmla="*/ 2383 h 10000"/>
                      <a:gd name="connsiteX8" fmla="*/ 2738 w 10000"/>
                      <a:gd name="connsiteY8" fmla="*/ 2701 h 10000"/>
                      <a:gd name="connsiteX9" fmla="*/ 2674 w 10000"/>
                      <a:gd name="connsiteY9" fmla="*/ 10000 h 10000"/>
                      <a:gd name="connsiteX10" fmla="*/ 1988 w 10000"/>
                      <a:gd name="connsiteY10" fmla="*/ 10000 h 10000"/>
                      <a:gd name="connsiteX11" fmla="*/ 1988 w 10000"/>
                      <a:gd name="connsiteY11" fmla="*/ 5130 h 10000"/>
                      <a:gd name="connsiteX12" fmla="*/ 0 w 10000"/>
                      <a:gd name="connsiteY12" fmla="*/ 5130 h 10000"/>
                      <a:gd name="connsiteX13" fmla="*/ 0 w 10000"/>
                      <a:gd name="connsiteY13" fmla="*/ 10000 h 10000"/>
                      <a:gd name="connsiteX0" fmla="*/ 10000 w 10000"/>
                      <a:gd name="connsiteY0" fmla="*/ 10000 h 10000"/>
                      <a:gd name="connsiteX1" fmla="*/ 7253 w 10000"/>
                      <a:gd name="connsiteY1" fmla="*/ 10000 h 10000"/>
                      <a:gd name="connsiteX2" fmla="*/ 7253 w 10000"/>
                      <a:gd name="connsiteY2" fmla="*/ 0 h 10000"/>
                      <a:gd name="connsiteX3" fmla="*/ 5192 w 10000"/>
                      <a:gd name="connsiteY3" fmla="*/ 0 h 10000"/>
                      <a:gd name="connsiteX4" fmla="*/ 5192 w 10000"/>
                      <a:gd name="connsiteY4" fmla="*/ 10000 h 10000"/>
                      <a:gd name="connsiteX5" fmla="*/ 4654 w 10000"/>
                      <a:gd name="connsiteY5" fmla="*/ 10000 h 10000"/>
                      <a:gd name="connsiteX6" fmla="*/ 4654 w 10000"/>
                      <a:gd name="connsiteY6" fmla="*/ 2383 h 10000"/>
                      <a:gd name="connsiteX7" fmla="*/ 2674 w 10000"/>
                      <a:gd name="connsiteY7" fmla="*/ 2383 h 10000"/>
                      <a:gd name="connsiteX8" fmla="*/ 2738 w 10000"/>
                      <a:gd name="connsiteY8" fmla="*/ 2701 h 10000"/>
                      <a:gd name="connsiteX9" fmla="*/ 2674 w 10000"/>
                      <a:gd name="connsiteY9" fmla="*/ 10000 h 10000"/>
                      <a:gd name="connsiteX10" fmla="*/ 1988 w 10000"/>
                      <a:gd name="connsiteY10" fmla="*/ 10000 h 10000"/>
                      <a:gd name="connsiteX11" fmla="*/ 1988 w 10000"/>
                      <a:gd name="connsiteY11" fmla="*/ 5130 h 10000"/>
                      <a:gd name="connsiteX12" fmla="*/ 0 w 10000"/>
                      <a:gd name="connsiteY12" fmla="*/ 5130 h 10000"/>
                      <a:gd name="connsiteX0" fmla="*/ 8012 w 8012"/>
                      <a:gd name="connsiteY0" fmla="*/ 10000 h 10000"/>
                      <a:gd name="connsiteX1" fmla="*/ 5265 w 8012"/>
                      <a:gd name="connsiteY1" fmla="*/ 10000 h 10000"/>
                      <a:gd name="connsiteX2" fmla="*/ 5265 w 8012"/>
                      <a:gd name="connsiteY2" fmla="*/ 0 h 10000"/>
                      <a:gd name="connsiteX3" fmla="*/ 3204 w 8012"/>
                      <a:gd name="connsiteY3" fmla="*/ 0 h 10000"/>
                      <a:gd name="connsiteX4" fmla="*/ 3204 w 8012"/>
                      <a:gd name="connsiteY4" fmla="*/ 10000 h 10000"/>
                      <a:gd name="connsiteX5" fmla="*/ 2666 w 8012"/>
                      <a:gd name="connsiteY5" fmla="*/ 10000 h 10000"/>
                      <a:gd name="connsiteX6" fmla="*/ 2666 w 8012"/>
                      <a:gd name="connsiteY6" fmla="*/ 2383 h 10000"/>
                      <a:gd name="connsiteX7" fmla="*/ 686 w 8012"/>
                      <a:gd name="connsiteY7" fmla="*/ 2383 h 10000"/>
                      <a:gd name="connsiteX8" fmla="*/ 750 w 8012"/>
                      <a:gd name="connsiteY8" fmla="*/ 2701 h 10000"/>
                      <a:gd name="connsiteX9" fmla="*/ 686 w 8012"/>
                      <a:gd name="connsiteY9" fmla="*/ 10000 h 10000"/>
                      <a:gd name="connsiteX10" fmla="*/ 0 w 8012"/>
                      <a:gd name="connsiteY10" fmla="*/ 10000 h 10000"/>
                      <a:gd name="connsiteX11" fmla="*/ 0 w 8012"/>
                      <a:gd name="connsiteY11" fmla="*/ 5130 h 10000"/>
                      <a:gd name="connsiteX0" fmla="*/ 10000 w 10000"/>
                      <a:gd name="connsiteY0" fmla="*/ 10000 h 10000"/>
                      <a:gd name="connsiteX1" fmla="*/ 6571 w 10000"/>
                      <a:gd name="connsiteY1" fmla="*/ 10000 h 10000"/>
                      <a:gd name="connsiteX2" fmla="*/ 6571 w 10000"/>
                      <a:gd name="connsiteY2" fmla="*/ 0 h 10000"/>
                      <a:gd name="connsiteX3" fmla="*/ 3999 w 10000"/>
                      <a:gd name="connsiteY3" fmla="*/ 0 h 10000"/>
                      <a:gd name="connsiteX4" fmla="*/ 3999 w 10000"/>
                      <a:gd name="connsiteY4" fmla="*/ 10000 h 10000"/>
                      <a:gd name="connsiteX5" fmla="*/ 3328 w 10000"/>
                      <a:gd name="connsiteY5" fmla="*/ 10000 h 10000"/>
                      <a:gd name="connsiteX6" fmla="*/ 3328 w 10000"/>
                      <a:gd name="connsiteY6" fmla="*/ 2383 h 10000"/>
                      <a:gd name="connsiteX7" fmla="*/ 856 w 10000"/>
                      <a:gd name="connsiteY7" fmla="*/ 2383 h 10000"/>
                      <a:gd name="connsiteX8" fmla="*/ 936 w 10000"/>
                      <a:gd name="connsiteY8" fmla="*/ 2701 h 10000"/>
                      <a:gd name="connsiteX9" fmla="*/ 856 w 10000"/>
                      <a:gd name="connsiteY9" fmla="*/ 10000 h 10000"/>
                      <a:gd name="connsiteX10" fmla="*/ 0 w 10000"/>
                      <a:gd name="connsiteY10" fmla="*/ 10000 h 10000"/>
                      <a:gd name="connsiteX0" fmla="*/ 9144 w 9144"/>
                      <a:gd name="connsiteY0" fmla="*/ 10000 h 10000"/>
                      <a:gd name="connsiteX1" fmla="*/ 5715 w 9144"/>
                      <a:gd name="connsiteY1" fmla="*/ 10000 h 10000"/>
                      <a:gd name="connsiteX2" fmla="*/ 5715 w 9144"/>
                      <a:gd name="connsiteY2" fmla="*/ 0 h 10000"/>
                      <a:gd name="connsiteX3" fmla="*/ 3143 w 9144"/>
                      <a:gd name="connsiteY3" fmla="*/ 0 h 10000"/>
                      <a:gd name="connsiteX4" fmla="*/ 3143 w 9144"/>
                      <a:gd name="connsiteY4" fmla="*/ 10000 h 10000"/>
                      <a:gd name="connsiteX5" fmla="*/ 2472 w 9144"/>
                      <a:gd name="connsiteY5" fmla="*/ 10000 h 10000"/>
                      <a:gd name="connsiteX6" fmla="*/ 2472 w 9144"/>
                      <a:gd name="connsiteY6" fmla="*/ 2383 h 10000"/>
                      <a:gd name="connsiteX7" fmla="*/ 0 w 9144"/>
                      <a:gd name="connsiteY7" fmla="*/ 2383 h 10000"/>
                      <a:gd name="connsiteX8" fmla="*/ 80 w 9144"/>
                      <a:gd name="connsiteY8" fmla="*/ 2701 h 10000"/>
                      <a:gd name="connsiteX9" fmla="*/ 0 w 9144"/>
                      <a:gd name="connsiteY9" fmla="*/ 10000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87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42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21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21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0 w 10000"/>
                      <a:gd name="connsiteY8" fmla="*/ 2701 h 10000"/>
                      <a:gd name="connsiteX0" fmla="*/ 10000 w 10000"/>
                      <a:gd name="connsiteY0" fmla="*/ 10000 h 10000"/>
                      <a:gd name="connsiteX1" fmla="*/ 6250 w 10000"/>
                      <a:gd name="connsiteY1" fmla="*/ 10000 h 10000"/>
                      <a:gd name="connsiteX2" fmla="*/ 6250 w 10000"/>
                      <a:gd name="connsiteY2" fmla="*/ 0 h 10000"/>
                      <a:gd name="connsiteX3" fmla="*/ 3437 w 10000"/>
                      <a:gd name="connsiteY3" fmla="*/ 0 h 10000"/>
                      <a:gd name="connsiteX4" fmla="*/ 3437 w 10000"/>
                      <a:gd name="connsiteY4" fmla="*/ 10000 h 10000"/>
                      <a:gd name="connsiteX5" fmla="*/ 2703 w 10000"/>
                      <a:gd name="connsiteY5" fmla="*/ 10000 h 10000"/>
                      <a:gd name="connsiteX6" fmla="*/ 2703 w 10000"/>
                      <a:gd name="connsiteY6" fmla="*/ 2383 h 10000"/>
                      <a:gd name="connsiteX7" fmla="*/ 0 w 10000"/>
                      <a:gd name="connsiteY7" fmla="*/ 2383 h 10000"/>
                      <a:gd name="connsiteX8" fmla="*/ 0 w 10000"/>
                      <a:gd name="connsiteY8" fmla="*/ 27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10000" y="10000"/>
                        </a:moveTo>
                        <a:lnTo>
                          <a:pt x="6250" y="10000"/>
                        </a:lnTo>
                        <a:lnTo>
                          <a:pt x="6250" y="0"/>
                        </a:lnTo>
                        <a:lnTo>
                          <a:pt x="3437" y="0"/>
                        </a:lnTo>
                        <a:lnTo>
                          <a:pt x="3437" y="10000"/>
                        </a:lnTo>
                        <a:lnTo>
                          <a:pt x="2703" y="10000"/>
                        </a:lnTo>
                        <a:lnTo>
                          <a:pt x="2703" y="2383"/>
                        </a:lnTo>
                        <a:lnTo>
                          <a:pt x="0" y="2383"/>
                        </a:lnTo>
                        <a:cubicBezTo>
                          <a:pt x="7" y="2510"/>
                          <a:pt x="-2" y="2542"/>
                          <a:pt x="0" y="270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99" name="Freeform 609"/>
                  <p:cNvSpPr>
                    <a:spLocks/>
                  </p:cNvSpPr>
                  <p:nvPr/>
                </p:nvSpPr>
                <p:spPr bwMode="auto">
                  <a:xfrm>
                    <a:off x="5852605" y="2940386"/>
                    <a:ext cx="444555" cy="187555"/>
                  </a:xfrm>
                  <a:custGeom>
                    <a:avLst/>
                    <a:gdLst>
                      <a:gd name="connsiteX0" fmla="*/ 8667 w 10525"/>
                      <a:gd name="connsiteY0" fmla="*/ 1691 h 10715"/>
                      <a:gd name="connsiteX1" fmla="*/ 10368 w 10525"/>
                      <a:gd name="connsiteY1" fmla="*/ 0 h 10715"/>
                      <a:gd name="connsiteX2" fmla="*/ 10436 w 10525"/>
                      <a:gd name="connsiteY2" fmla="*/ 2721 h 10715"/>
                      <a:gd name="connsiteX3" fmla="*/ 9892 w 10525"/>
                      <a:gd name="connsiteY3" fmla="*/ 2500 h 10715"/>
                      <a:gd name="connsiteX4" fmla="*/ 2192 w 10525"/>
                      <a:gd name="connsiteY4" fmla="*/ 9525 h 10715"/>
                      <a:gd name="connsiteX5" fmla="*/ 436 w 10525"/>
                      <a:gd name="connsiteY5" fmla="*/ 10000 h 10715"/>
                      <a:gd name="connsiteX6" fmla="*/ 9143 w 10525"/>
                      <a:gd name="connsiteY6" fmla="*/ 2279 h 10715"/>
                      <a:gd name="connsiteX0" fmla="*/ 8232 w 10090"/>
                      <a:gd name="connsiteY0" fmla="*/ 1691 h 10255"/>
                      <a:gd name="connsiteX1" fmla="*/ 9933 w 10090"/>
                      <a:gd name="connsiteY1" fmla="*/ 0 h 10255"/>
                      <a:gd name="connsiteX2" fmla="*/ 10001 w 10090"/>
                      <a:gd name="connsiteY2" fmla="*/ 2721 h 10255"/>
                      <a:gd name="connsiteX3" fmla="*/ 9457 w 10090"/>
                      <a:gd name="connsiteY3" fmla="*/ 2500 h 10255"/>
                      <a:gd name="connsiteX4" fmla="*/ 1757 w 10090"/>
                      <a:gd name="connsiteY4" fmla="*/ 9525 h 10255"/>
                      <a:gd name="connsiteX5" fmla="*/ 1 w 10090"/>
                      <a:gd name="connsiteY5" fmla="*/ 10000 h 10255"/>
                      <a:gd name="connsiteX6" fmla="*/ 1744 w 10090"/>
                      <a:gd name="connsiteY6" fmla="*/ 9203 h 10255"/>
                      <a:gd name="connsiteX7" fmla="*/ 8708 w 10090"/>
                      <a:gd name="connsiteY7" fmla="*/ 2279 h 10255"/>
                      <a:gd name="connsiteX0" fmla="*/ 8232 w 10090"/>
                      <a:gd name="connsiteY0" fmla="*/ 1691 h 10255"/>
                      <a:gd name="connsiteX1" fmla="*/ 9933 w 10090"/>
                      <a:gd name="connsiteY1" fmla="*/ 0 h 10255"/>
                      <a:gd name="connsiteX2" fmla="*/ 10001 w 10090"/>
                      <a:gd name="connsiteY2" fmla="*/ 2721 h 10255"/>
                      <a:gd name="connsiteX3" fmla="*/ 9457 w 10090"/>
                      <a:gd name="connsiteY3" fmla="*/ 2500 h 10255"/>
                      <a:gd name="connsiteX4" fmla="*/ 1757 w 10090"/>
                      <a:gd name="connsiteY4" fmla="*/ 9525 h 10255"/>
                      <a:gd name="connsiteX5" fmla="*/ 1 w 10090"/>
                      <a:gd name="connsiteY5" fmla="*/ 10000 h 10255"/>
                      <a:gd name="connsiteX6" fmla="*/ 1744 w 10090"/>
                      <a:gd name="connsiteY6" fmla="*/ 9203 h 10255"/>
                      <a:gd name="connsiteX7" fmla="*/ 8708 w 10090"/>
                      <a:gd name="connsiteY7" fmla="*/ 2279 h 10255"/>
                      <a:gd name="connsiteX0" fmla="*/ 8231 w 10089"/>
                      <a:gd name="connsiteY0" fmla="*/ 1691 h 10255"/>
                      <a:gd name="connsiteX1" fmla="*/ 9932 w 10089"/>
                      <a:gd name="connsiteY1" fmla="*/ 0 h 10255"/>
                      <a:gd name="connsiteX2" fmla="*/ 10000 w 10089"/>
                      <a:gd name="connsiteY2" fmla="*/ 2721 h 10255"/>
                      <a:gd name="connsiteX3" fmla="*/ 9456 w 10089"/>
                      <a:gd name="connsiteY3" fmla="*/ 2500 h 10255"/>
                      <a:gd name="connsiteX4" fmla="*/ 1756 w 10089"/>
                      <a:gd name="connsiteY4" fmla="*/ 9525 h 10255"/>
                      <a:gd name="connsiteX5" fmla="*/ 0 w 10089"/>
                      <a:gd name="connsiteY5" fmla="*/ 10000 h 10255"/>
                      <a:gd name="connsiteX6" fmla="*/ 1743 w 10089"/>
                      <a:gd name="connsiteY6" fmla="*/ 9203 h 10255"/>
                      <a:gd name="connsiteX7" fmla="*/ 8707 w 10089"/>
                      <a:gd name="connsiteY7" fmla="*/ 2279 h 10255"/>
                      <a:gd name="connsiteX0" fmla="*/ 8231 w 10089"/>
                      <a:gd name="connsiteY0" fmla="*/ 1691 h 10209"/>
                      <a:gd name="connsiteX1" fmla="*/ 9932 w 10089"/>
                      <a:gd name="connsiteY1" fmla="*/ 0 h 10209"/>
                      <a:gd name="connsiteX2" fmla="*/ 10000 w 10089"/>
                      <a:gd name="connsiteY2" fmla="*/ 2721 h 10209"/>
                      <a:gd name="connsiteX3" fmla="*/ 9456 w 10089"/>
                      <a:gd name="connsiteY3" fmla="*/ 2500 h 10209"/>
                      <a:gd name="connsiteX4" fmla="*/ 1756 w 10089"/>
                      <a:gd name="connsiteY4" fmla="*/ 9525 h 10209"/>
                      <a:gd name="connsiteX5" fmla="*/ 0 w 10089"/>
                      <a:gd name="connsiteY5" fmla="*/ 10000 h 10209"/>
                      <a:gd name="connsiteX6" fmla="*/ 1743 w 10089"/>
                      <a:gd name="connsiteY6" fmla="*/ 9203 h 10209"/>
                      <a:gd name="connsiteX7" fmla="*/ 8707 w 10089"/>
                      <a:gd name="connsiteY7" fmla="*/ 2279 h 10209"/>
                      <a:gd name="connsiteX0" fmla="*/ 8231 w 10089"/>
                      <a:gd name="connsiteY0" fmla="*/ 1691 h 10000"/>
                      <a:gd name="connsiteX1" fmla="*/ 9932 w 10089"/>
                      <a:gd name="connsiteY1" fmla="*/ 0 h 10000"/>
                      <a:gd name="connsiteX2" fmla="*/ 10000 w 10089"/>
                      <a:gd name="connsiteY2" fmla="*/ 2721 h 10000"/>
                      <a:gd name="connsiteX3" fmla="*/ 9456 w 10089"/>
                      <a:gd name="connsiteY3" fmla="*/ 2500 h 10000"/>
                      <a:gd name="connsiteX4" fmla="*/ 1756 w 10089"/>
                      <a:gd name="connsiteY4" fmla="*/ 9525 h 10000"/>
                      <a:gd name="connsiteX5" fmla="*/ 0 w 10089"/>
                      <a:gd name="connsiteY5" fmla="*/ 10000 h 10000"/>
                      <a:gd name="connsiteX6" fmla="*/ 1743 w 10089"/>
                      <a:gd name="connsiteY6" fmla="*/ 9203 h 10000"/>
                      <a:gd name="connsiteX7" fmla="*/ 8707 w 10089"/>
                      <a:gd name="connsiteY7" fmla="*/ 2279 h 10000"/>
                      <a:gd name="connsiteX0" fmla="*/ 9932 w 10089"/>
                      <a:gd name="connsiteY0" fmla="*/ 0 h 10000"/>
                      <a:gd name="connsiteX1" fmla="*/ 10000 w 10089"/>
                      <a:gd name="connsiteY1" fmla="*/ 2721 h 10000"/>
                      <a:gd name="connsiteX2" fmla="*/ 9456 w 10089"/>
                      <a:gd name="connsiteY2" fmla="*/ 2500 h 10000"/>
                      <a:gd name="connsiteX3" fmla="*/ 1756 w 10089"/>
                      <a:gd name="connsiteY3" fmla="*/ 9525 h 10000"/>
                      <a:gd name="connsiteX4" fmla="*/ 0 w 10089"/>
                      <a:gd name="connsiteY4" fmla="*/ 10000 h 10000"/>
                      <a:gd name="connsiteX5" fmla="*/ 1743 w 10089"/>
                      <a:gd name="connsiteY5" fmla="*/ 9203 h 10000"/>
                      <a:gd name="connsiteX6" fmla="*/ 8707 w 10089"/>
                      <a:gd name="connsiteY6" fmla="*/ 2279 h 10000"/>
                      <a:gd name="connsiteX0" fmla="*/ 10000 w 10089"/>
                      <a:gd name="connsiteY0" fmla="*/ 718 h 7997"/>
                      <a:gd name="connsiteX1" fmla="*/ 9456 w 10089"/>
                      <a:gd name="connsiteY1" fmla="*/ 497 h 7997"/>
                      <a:gd name="connsiteX2" fmla="*/ 1756 w 10089"/>
                      <a:gd name="connsiteY2" fmla="*/ 7522 h 7997"/>
                      <a:gd name="connsiteX3" fmla="*/ 0 w 10089"/>
                      <a:gd name="connsiteY3" fmla="*/ 7997 h 7997"/>
                      <a:gd name="connsiteX4" fmla="*/ 1743 w 10089"/>
                      <a:gd name="connsiteY4" fmla="*/ 7200 h 7997"/>
                      <a:gd name="connsiteX5" fmla="*/ 8707 w 10089"/>
                      <a:gd name="connsiteY5" fmla="*/ 276 h 7997"/>
                      <a:gd name="connsiteX0" fmla="*/ 9373 w 9373"/>
                      <a:gd name="connsiteY0" fmla="*/ 276 h 9655"/>
                      <a:gd name="connsiteX1" fmla="*/ 1741 w 9373"/>
                      <a:gd name="connsiteY1" fmla="*/ 9061 h 9655"/>
                      <a:gd name="connsiteX2" fmla="*/ 0 w 9373"/>
                      <a:gd name="connsiteY2" fmla="*/ 9655 h 9655"/>
                      <a:gd name="connsiteX3" fmla="*/ 1728 w 9373"/>
                      <a:gd name="connsiteY3" fmla="*/ 8658 h 9655"/>
                      <a:gd name="connsiteX4" fmla="*/ 8630 w 9373"/>
                      <a:gd name="connsiteY4" fmla="*/ 0 h 9655"/>
                      <a:gd name="connsiteX0" fmla="*/ 1857 w 9207"/>
                      <a:gd name="connsiteY0" fmla="*/ 9385 h 10000"/>
                      <a:gd name="connsiteX1" fmla="*/ 0 w 9207"/>
                      <a:gd name="connsiteY1" fmla="*/ 10000 h 10000"/>
                      <a:gd name="connsiteX2" fmla="*/ 1844 w 9207"/>
                      <a:gd name="connsiteY2" fmla="*/ 8967 h 10000"/>
                      <a:gd name="connsiteX3" fmla="*/ 9207 w 9207"/>
                      <a:gd name="connsiteY3" fmla="*/ 0 h 10000"/>
                      <a:gd name="connsiteX0" fmla="*/ 2017 w 2017"/>
                      <a:gd name="connsiteY0" fmla="*/ 418 h 1033"/>
                      <a:gd name="connsiteX1" fmla="*/ 0 w 2017"/>
                      <a:gd name="connsiteY1" fmla="*/ 1033 h 1033"/>
                      <a:gd name="connsiteX2" fmla="*/ 2003 w 2017"/>
                      <a:gd name="connsiteY2" fmla="*/ 0 h 1033"/>
                    </a:gdLst>
                    <a:ahLst/>
                    <a:cxnLst>
                      <a:cxn ang="0">
                        <a:pos x="connsiteX0" y="connsiteY0"/>
                      </a:cxn>
                      <a:cxn ang="0">
                        <a:pos x="connsiteX1" y="connsiteY1"/>
                      </a:cxn>
                      <a:cxn ang="0">
                        <a:pos x="connsiteX2" y="connsiteY2"/>
                      </a:cxn>
                    </a:cxnLst>
                    <a:rect l="l" t="t" r="r" b="b"/>
                    <a:pathLst>
                      <a:path w="2017" h="1033">
                        <a:moveTo>
                          <a:pt x="2017" y="418"/>
                        </a:moveTo>
                        <a:cubicBezTo>
                          <a:pt x="1027" y="733"/>
                          <a:pt x="644" y="921"/>
                          <a:pt x="0" y="1033"/>
                        </a:cubicBezTo>
                        <a:cubicBezTo>
                          <a:pt x="386" y="836"/>
                          <a:pt x="933" y="618"/>
                          <a:pt x="2003"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100" name="Freeform 609"/>
                  <p:cNvSpPr>
                    <a:spLocks/>
                  </p:cNvSpPr>
                  <p:nvPr/>
                </p:nvSpPr>
                <p:spPr bwMode="auto">
                  <a:xfrm>
                    <a:off x="7855327" y="776426"/>
                    <a:ext cx="528764" cy="1241730"/>
                  </a:xfrm>
                  <a:custGeom>
                    <a:avLst/>
                    <a:gdLst>
                      <a:gd name="connsiteX0" fmla="*/ 8231 w 10000"/>
                      <a:gd name="connsiteY0" fmla="*/ 1691 h 10000"/>
                      <a:gd name="connsiteX1" fmla="*/ 9932 w 10000"/>
                      <a:gd name="connsiteY1" fmla="*/ 0 h 10000"/>
                      <a:gd name="connsiteX2" fmla="*/ 10000 w 10000"/>
                      <a:gd name="connsiteY2" fmla="*/ 2721 h 10000"/>
                      <a:gd name="connsiteX3" fmla="*/ 9456 w 10000"/>
                      <a:gd name="connsiteY3" fmla="*/ 2500 h 10000"/>
                      <a:gd name="connsiteX4" fmla="*/ 0 w 10000"/>
                      <a:gd name="connsiteY4" fmla="*/ 10000 h 10000"/>
                      <a:gd name="connsiteX0" fmla="*/ 8231 w 10000"/>
                      <a:gd name="connsiteY0" fmla="*/ 1691 h 10000"/>
                      <a:gd name="connsiteX1" fmla="*/ 9932 w 10000"/>
                      <a:gd name="connsiteY1" fmla="*/ 0 h 10000"/>
                      <a:gd name="connsiteX2" fmla="*/ 10000 w 10000"/>
                      <a:gd name="connsiteY2" fmla="*/ 2721 h 10000"/>
                      <a:gd name="connsiteX3" fmla="*/ 9456 w 10000"/>
                      <a:gd name="connsiteY3" fmla="*/ 2500 h 10000"/>
                      <a:gd name="connsiteX4" fmla="*/ 0 w 10000"/>
                      <a:gd name="connsiteY4" fmla="*/ 10000 h 10000"/>
                      <a:gd name="connsiteX0" fmla="*/ 8231 w 10000"/>
                      <a:gd name="connsiteY0" fmla="*/ 1691 h 10000"/>
                      <a:gd name="connsiteX1" fmla="*/ 9932 w 10000"/>
                      <a:gd name="connsiteY1" fmla="*/ 0 h 10000"/>
                      <a:gd name="connsiteX2" fmla="*/ 10000 w 10000"/>
                      <a:gd name="connsiteY2" fmla="*/ 2721 h 10000"/>
                      <a:gd name="connsiteX3" fmla="*/ 9456 w 10000"/>
                      <a:gd name="connsiteY3" fmla="*/ 2500 h 10000"/>
                      <a:gd name="connsiteX4" fmla="*/ 0 w 10000"/>
                      <a:gd name="connsiteY4" fmla="*/ 10000 h 10000"/>
                      <a:gd name="connsiteX0" fmla="*/ 254 w 2296"/>
                      <a:gd name="connsiteY0" fmla="*/ 1691 h 5220"/>
                      <a:gd name="connsiteX1" fmla="*/ 1955 w 2296"/>
                      <a:gd name="connsiteY1" fmla="*/ 0 h 5220"/>
                      <a:gd name="connsiteX2" fmla="*/ 2023 w 2296"/>
                      <a:gd name="connsiteY2" fmla="*/ 2721 h 5220"/>
                      <a:gd name="connsiteX3" fmla="*/ 1479 w 2296"/>
                      <a:gd name="connsiteY3" fmla="*/ 2500 h 5220"/>
                      <a:gd name="connsiteX4" fmla="*/ 0 w 2296"/>
                      <a:gd name="connsiteY4" fmla="*/ 5220 h 5220"/>
                      <a:gd name="connsiteX0" fmla="*/ 1106 w 8811"/>
                      <a:gd name="connsiteY0" fmla="*/ 3239 h 10000"/>
                      <a:gd name="connsiteX1" fmla="*/ 8515 w 8811"/>
                      <a:gd name="connsiteY1" fmla="*/ 0 h 10000"/>
                      <a:gd name="connsiteX2" fmla="*/ 8811 w 8811"/>
                      <a:gd name="connsiteY2" fmla="*/ 5213 h 10000"/>
                      <a:gd name="connsiteX3" fmla="*/ 6442 w 8811"/>
                      <a:gd name="connsiteY3" fmla="*/ 4789 h 10000"/>
                      <a:gd name="connsiteX4" fmla="*/ 0 w 8811"/>
                      <a:gd name="connsiteY4" fmla="*/ 10000 h 10000"/>
                      <a:gd name="connsiteX0" fmla="*/ 1255 w 10000"/>
                      <a:gd name="connsiteY0" fmla="*/ 3239 h 10000"/>
                      <a:gd name="connsiteX1" fmla="*/ 9664 w 10000"/>
                      <a:gd name="connsiteY1" fmla="*/ 0 h 10000"/>
                      <a:gd name="connsiteX2" fmla="*/ 10000 w 10000"/>
                      <a:gd name="connsiteY2" fmla="*/ 5213 h 10000"/>
                      <a:gd name="connsiteX3" fmla="*/ 7311 w 10000"/>
                      <a:gd name="connsiteY3" fmla="*/ 4789 h 10000"/>
                      <a:gd name="connsiteX4" fmla="*/ 0 w 10000"/>
                      <a:gd name="connsiteY4" fmla="*/ 10000 h 10000"/>
                      <a:gd name="connsiteX0" fmla="*/ 1255 w 10000"/>
                      <a:gd name="connsiteY0" fmla="*/ 3239 h 10000"/>
                      <a:gd name="connsiteX1" fmla="*/ 9664 w 10000"/>
                      <a:gd name="connsiteY1" fmla="*/ 0 h 10000"/>
                      <a:gd name="connsiteX2" fmla="*/ 10000 w 10000"/>
                      <a:gd name="connsiteY2" fmla="*/ 5213 h 10000"/>
                      <a:gd name="connsiteX3" fmla="*/ 7311 w 10000"/>
                      <a:gd name="connsiteY3" fmla="*/ 4789 h 10000"/>
                      <a:gd name="connsiteX4" fmla="*/ 0 w 10000"/>
                      <a:gd name="connsiteY4" fmla="*/ 10000 h 10000"/>
                      <a:gd name="connsiteX0" fmla="*/ 1255 w 10000"/>
                      <a:gd name="connsiteY0" fmla="*/ 3239 h 10000"/>
                      <a:gd name="connsiteX1" fmla="*/ 9664 w 10000"/>
                      <a:gd name="connsiteY1" fmla="*/ 0 h 10000"/>
                      <a:gd name="connsiteX2" fmla="*/ 10000 w 10000"/>
                      <a:gd name="connsiteY2" fmla="*/ 5213 h 10000"/>
                      <a:gd name="connsiteX3" fmla="*/ 7311 w 10000"/>
                      <a:gd name="connsiteY3" fmla="*/ 4789 h 10000"/>
                      <a:gd name="connsiteX4" fmla="*/ 0 w 10000"/>
                      <a:gd name="connsiteY4" fmla="*/ 10000 h 10000"/>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 name="connsiteX0" fmla="*/ 1580 w 10325"/>
                      <a:gd name="connsiteY0" fmla="*/ 3239 h 10116"/>
                      <a:gd name="connsiteX1" fmla="*/ 9989 w 10325"/>
                      <a:gd name="connsiteY1" fmla="*/ 0 h 10116"/>
                      <a:gd name="connsiteX2" fmla="*/ 10325 w 10325"/>
                      <a:gd name="connsiteY2" fmla="*/ 5213 h 10116"/>
                      <a:gd name="connsiteX3" fmla="*/ 7636 w 10325"/>
                      <a:gd name="connsiteY3" fmla="*/ 4789 h 10116"/>
                      <a:gd name="connsiteX4" fmla="*/ 0 w 10325"/>
                      <a:gd name="connsiteY4" fmla="*/ 10116 h 1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5" h="10116">
                        <a:moveTo>
                          <a:pt x="1580" y="3239"/>
                        </a:moveTo>
                        <a:lnTo>
                          <a:pt x="9989" y="0"/>
                        </a:lnTo>
                        <a:cubicBezTo>
                          <a:pt x="10103" y="1738"/>
                          <a:pt x="10212" y="3475"/>
                          <a:pt x="10325" y="5213"/>
                        </a:cubicBezTo>
                        <a:lnTo>
                          <a:pt x="7636" y="4789"/>
                        </a:lnTo>
                        <a:cubicBezTo>
                          <a:pt x="4817" y="7609"/>
                          <a:pt x="2847" y="8611"/>
                          <a:pt x="0" y="1011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sp>
                <p:nvSpPr>
                  <p:cNvPr id="101" name="Freeform 609"/>
                  <p:cNvSpPr>
                    <a:spLocks/>
                  </p:cNvSpPr>
                  <p:nvPr/>
                </p:nvSpPr>
                <p:spPr bwMode="auto">
                  <a:xfrm>
                    <a:off x="7777337" y="1312781"/>
                    <a:ext cx="279358" cy="514335"/>
                  </a:xfrm>
                  <a:custGeom>
                    <a:avLst/>
                    <a:gdLst>
                      <a:gd name="connsiteX0" fmla="*/ 8241 w 10010"/>
                      <a:gd name="connsiteY0" fmla="*/ 1691 h 10016"/>
                      <a:gd name="connsiteX1" fmla="*/ 9942 w 10010"/>
                      <a:gd name="connsiteY1" fmla="*/ 0 h 10016"/>
                      <a:gd name="connsiteX2" fmla="*/ 10010 w 10010"/>
                      <a:gd name="connsiteY2" fmla="*/ 2721 h 10016"/>
                      <a:gd name="connsiteX3" fmla="*/ 9466 w 10010"/>
                      <a:gd name="connsiteY3" fmla="*/ 2500 h 10016"/>
                      <a:gd name="connsiteX4" fmla="*/ 10 w 10010"/>
                      <a:gd name="connsiteY4" fmla="*/ 10000 h 10016"/>
                      <a:gd name="connsiteX5" fmla="*/ 7613 w 10010"/>
                      <a:gd name="connsiteY5" fmla="*/ 4466 h 10016"/>
                      <a:gd name="connsiteX6" fmla="*/ 8717 w 10010"/>
                      <a:gd name="connsiteY6" fmla="*/ 2279 h 10016"/>
                      <a:gd name="connsiteX0" fmla="*/ 8241 w 10010"/>
                      <a:gd name="connsiteY0" fmla="*/ 1691 h 10016"/>
                      <a:gd name="connsiteX1" fmla="*/ 9942 w 10010"/>
                      <a:gd name="connsiteY1" fmla="*/ 0 h 10016"/>
                      <a:gd name="connsiteX2" fmla="*/ 10010 w 10010"/>
                      <a:gd name="connsiteY2" fmla="*/ 2721 h 10016"/>
                      <a:gd name="connsiteX3" fmla="*/ 9466 w 10010"/>
                      <a:gd name="connsiteY3" fmla="*/ 2500 h 10016"/>
                      <a:gd name="connsiteX4" fmla="*/ 10 w 10010"/>
                      <a:gd name="connsiteY4" fmla="*/ 10000 h 10016"/>
                      <a:gd name="connsiteX5" fmla="*/ 7613 w 10010"/>
                      <a:gd name="connsiteY5" fmla="*/ 4466 h 10016"/>
                      <a:gd name="connsiteX6" fmla="*/ 8717 w 10010"/>
                      <a:gd name="connsiteY6" fmla="*/ 2279 h 10016"/>
                      <a:gd name="connsiteX0" fmla="*/ 8241 w 10010"/>
                      <a:gd name="connsiteY0" fmla="*/ 1691 h 10016"/>
                      <a:gd name="connsiteX1" fmla="*/ 9942 w 10010"/>
                      <a:gd name="connsiteY1" fmla="*/ 0 h 10016"/>
                      <a:gd name="connsiteX2" fmla="*/ 10010 w 10010"/>
                      <a:gd name="connsiteY2" fmla="*/ 2721 h 10016"/>
                      <a:gd name="connsiteX3" fmla="*/ 9466 w 10010"/>
                      <a:gd name="connsiteY3" fmla="*/ 2500 h 10016"/>
                      <a:gd name="connsiteX4" fmla="*/ 10 w 10010"/>
                      <a:gd name="connsiteY4" fmla="*/ 10000 h 10016"/>
                      <a:gd name="connsiteX5" fmla="*/ 7613 w 10010"/>
                      <a:gd name="connsiteY5" fmla="*/ 4466 h 10016"/>
                      <a:gd name="connsiteX6" fmla="*/ 8717 w 10010"/>
                      <a:gd name="connsiteY6" fmla="*/ 2279 h 10016"/>
                      <a:gd name="connsiteX0" fmla="*/ 9942 w 10010"/>
                      <a:gd name="connsiteY0" fmla="*/ 0 h 10016"/>
                      <a:gd name="connsiteX1" fmla="*/ 10010 w 10010"/>
                      <a:gd name="connsiteY1" fmla="*/ 2721 h 10016"/>
                      <a:gd name="connsiteX2" fmla="*/ 9466 w 10010"/>
                      <a:gd name="connsiteY2" fmla="*/ 2500 h 10016"/>
                      <a:gd name="connsiteX3" fmla="*/ 10 w 10010"/>
                      <a:gd name="connsiteY3" fmla="*/ 10000 h 10016"/>
                      <a:gd name="connsiteX4" fmla="*/ 7613 w 10010"/>
                      <a:gd name="connsiteY4" fmla="*/ 4466 h 10016"/>
                      <a:gd name="connsiteX5" fmla="*/ 8717 w 10010"/>
                      <a:gd name="connsiteY5" fmla="*/ 2279 h 10016"/>
                      <a:gd name="connsiteX0" fmla="*/ 10010 w 10010"/>
                      <a:gd name="connsiteY0" fmla="*/ 442 h 7737"/>
                      <a:gd name="connsiteX1" fmla="*/ 9466 w 10010"/>
                      <a:gd name="connsiteY1" fmla="*/ 221 h 7737"/>
                      <a:gd name="connsiteX2" fmla="*/ 10 w 10010"/>
                      <a:gd name="connsiteY2" fmla="*/ 7721 h 7737"/>
                      <a:gd name="connsiteX3" fmla="*/ 7613 w 10010"/>
                      <a:gd name="connsiteY3" fmla="*/ 2187 h 7737"/>
                      <a:gd name="connsiteX4" fmla="*/ 8717 w 10010"/>
                      <a:gd name="connsiteY4" fmla="*/ 0 h 7737"/>
                      <a:gd name="connsiteX0" fmla="*/ 9457 w 9457"/>
                      <a:gd name="connsiteY0" fmla="*/ 286 h 10000"/>
                      <a:gd name="connsiteX1" fmla="*/ 10 w 9457"/>
                      <a:gd name="connsiteY1" fmla="*/ 9979 h 10000"/>
                      <a:gd name="connsiteX2" fmla="*/ 7605 w 9457"/>
                      <a:gd name="connsiteY2" fmla="*/ 2827 h 10000"/>
                      <a:gd name="connsiteX3" fmla="*/ 8708 w 9457"/>
                      <a:gd name="connsiteY3" fmla="*/ 0 h 10000"/>
                      <a:gd name="connsiteX0" fmla="*/ 11 w 9208"/>
                      <a:gd name="connsiteY0" fmla="*/ 9979 h 10000"/>
                      <a:gd name="connsiteX1" fmla="*/ 8042 w 9208"/>
                      <a:gd name="connsiteY1" fmla="*/ 2827 h 10000"/>
                      <a:gd name="connsiteX2" fmla="*/ 9208 w 9208"/>
                      <a:gd name="connsiteY2" fmla="*/ 0 h 10000"/>
                      <a:gd name="connsiteX0" fmla="*/ 0 w 1266"/>
                      <a:gd name="connsiteY0" fmla="*/ 2827 h 2827"/>
                      <a:gd name="connsiteX1" fmla="*/ 1266 w 1266"/>
                      <a:gd name="connsiteY1" fmla="*/ 0 h 2827"/>
                    </a:gdLst>
                    <a:ahLst/>
                    <a:cxnLst>
                      <a:cxn ang="0">
                        <a:pos x="connsiteX0" y="connsiteY0"/>
                      </a:cxn>
                      <a:cxn ang="0">
                        <a:pos x="connsiteX1" y="connsiteY1"/>
                      </a:cxn>
                    </a:cxnLst>
                    <a:rect l="l" t="t" r="r" b="b"/>
                    <a:pathLst>
                      <a:path w="1266" h="2827">
                        <a:moveTo>
                          <a:pt x="0" y="2827"/>
                        </a:moveTo>
                        <a:cubicBezTo>
                          <a:pt x="650" y="1742"/>
                          <a:pt x="997" y="869"/>
                          <a:pt x="1266"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nvGrpSpPr>
                  <p:cNvPr id="102" name="Groupe 72"/>
                  <p:cNvGrpSpPr>
                    <a:grpSpLocks noChangeAspect="1"/>
                  </p:cNvGrpSpPr>
                  <p:nvPr/>
                </p:nvGrpSpPr>
                <p:grpSpPr>
                  <a:xfrm>
                    <a:off x="6336506" y="1826426"/>
                    <a:ext cx="1907382" cy="2690129"/>
                    <a:chOff x="2060576" y="6010275"/>
                    <a:chExt cx="336550" cy="474663"/>
                  </a:xfrm>
                </p:grpSpPr>
                <p:sp>
                  <p:nvSpPr>
                    <p:cNvPr id="104" name="Freeform 521"/>
                    <p:cNvSpPr>
                      <a:spLocks/>
                    </p:cNvSpPr>
                    <p:nvPr/>
                  </p:nvSpPr>
                  <p:spPr bwMode="auto">
                    <a:xfrm>
                      <a:off x="2060576" y="6010275"/>
                      <a:ext cx="336550" cy="474663"/>
                    </a:xfrm>
                    <a:custGeom>
                      <a:avLst/>
                      <a:gdLst/>
                      <a:ahLst/>
                      <a:cxnLst>
                        <a:cxn ang="0">
                          <a:pos x="131" y="245"/>
                        </a:cxn>
                        <a:cxn ang="0">
                          <a:pos x="6" y="245"/>
                        </a:cxn>
                        <a:cxn ang="0">
                          <a:pos x="0" y="239"/>
                        </a:cxn>
                        <a:cxn ang="0">
                          <a:pos x="0" y="29"/>
                        </a:cxn>
                        <a:cxn ang="0">
                          <a:pos x="6" y="23"/>
                        </a:cxn>
                        <a:cxn ang="0">
                          <a:pos x="46" y="23"/>
                        </a:cxn>
                        <a:cxn ang="0">
                          <a:pos x="46" y="7"/>
                        </a:cxn>
                        <a:cxn ang="0">
                          <a:pos x="53" y="0"/>
                        </a:cxn>
                        <a:cxn ang="0">
                          <a:pos x="121" y="0"/>
                        </a:cxn>
                        <a:cxn ang="0">
                          <a:pos x="128" y="7"/>
                        </a:cxn>
                        <a:cxn ang="0">
                          <a:pos x="128" y="23"/>
                        </a:cxn>
                        <a:cxn ang="0">
                          <a:pos x="168" y="23"/>
                        </a:cxn>
                        <a:cxn ang="0">
                          <a:pos x="174" y="29"/>
                        </a:cxn>
                        <a:cxn ang="0">
                          <a:pos x="174" y="199"/>
                        </a:cxn>
                        <a:cxn ang="0">
                          <a:pos x="131" y="245"/>
                        </a:cxn>
                      </a:cxnLst>
                      <a:rect l="0" t="0" r="r" b="b"/>
                      <a:pathLst>
                        <a:path w="174" h="245">
                          <a:moveTo>
                            <a:pt x="131" y="245"/>
                          </a:moveTo>
                          <a:cubicBezTo>
                            <a:pt x="6" y="245"/>
                            <a:pt x="6" y="245"/>
                            <a:pt x="6" y="245"/>
                          </a:cubicBezTo>
                          <a:cubicBezTo>
                            <a:pt x="2" y="245"/>
                            <a:pt x="0" y="243"/>
                            <a:pt x="0" y="239"/>
                          </a:cubicBezTo>
                          <a:cubicBezTo>
                            <a:pt x="0" y="29"/>
                            <a:pt x="0" y="29"/>
                            <a:pt x="0" y="29"/>
                          </a:cubicBezTo>
                          <a:cubicBezTo>
                            <a:pt x="0" y="26"/>
                            <a:pt x="2" y="23"/>
                            <a:pt x="6" y="23"/>
                          </a:cubicBezTo>
                          <a:cubicBezTo>
                            <a:pt x="46" y="23"/>
                            <a:pt x="46" y="23"/>
                            <a:pt x="46" y="23"/>
                          </a:cubicBezTo>
                          <a:cubicBezTo>
                            <a:pt x="46" y="7"/>
                            <a:pt x="46" y="7"/>
                            <a:pt x="46" y="7"/>
                          </a:cubicBezTo>
                          <a:cubicBezTo>
                            <a:pt x="46" y="3"/>
                            <a:pt x="49" y="0"/>
                            <a:pt x="53" y="0"/>
                          </a:cubicBezTo>
                          <a:cubicBezTo>
                            <a:pt x="121" y="0"/>
                            <a:pt x="121" y="0"/>
                            <a:pt x="121" y="0"/>
                          </a:cubicBezTo>
                          <a:cubicBezTo>
                            <a:pt x="125" y="0"/>
                            <a:pt x="128" y="3"/>
                            <a:pt x="128" y="7"/>
                          </a:cubicBezTo>
                          <a:cubicBezTo>
                            <a:pt x="128" y="23"/>
                            <a:pt x="128" y="23"/>
                            <a:pt x="128" y="23"/>
                          </a:cubicBezTo>
                          <a:cubicBezTo>
                            <a:pt x="168" y="23"/>
                            <a:pt x="168" y="23"/>
                            <a:pt x="168" y="23"/>
                          </a:cubicBezTo>
                          <a:cubicBezTo>
                            <a:pt x="171" y="23"/>
                            <a:pt x="174" y="26"/>
                            <a:pt x="174" y="29"/>
                          </a:cubicBezTo>
                          <a:cubicBezTo>
                            <a:pt x="174" y="199"/>
                            <a:pt x="174" y="199"/>
                            <a:pt x="174" y="199"/>
                          </a:cubicBezTo>
                          <a:lnTo>
                            <a:pt x="131" y="245"/>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5" name="Freeform 522"/>
                    <p:cNvSpPr>
                      <a:spLocks/>
                    </p:cNvSpPr>
                    <p:nvPr/>
                  </p:nvSpPr>
                  <p:spPr bwMode="auto">
                    <a:xfrm>
                      <a:off x="2125663" y="6143625"/>
                      <a:ext cx="77788" cy="31750"/>
                    </a:xfrm>
                    <a:custGeom>
                      <a:avLst/>
                      <a:gdLst/>
                      <a:ahLst/>
                      <a:cxnLst>
                        <a:cxn ang="0">
                          <a:pos x="0" y="4"/>
                        </a:cxn>
                        <a:cxn ang="0">
                          <a:pos x="10" y="20"/>
                        </a:cxn>
                        <a:cxn ang="0">
                          <a:pos x="49" y="0"/>
                        </a:cxn>
                      </a:cxnLst>
                      <a:rect l="0" t="0" r="r" b="b"/>
                      <a:pathLst>
                        <a:path w="49" h="20">
                          <a:moveTo>
                            <a:pt x="0" y="4"/>
                          </a:moveTo>
                          <a:lnTo>
                            <a:pt x="10" y="2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6" name="Freeform 523"/>
                    <p:cNvSpPr>
                      <a:spLocks/>
                    </p:cNvSpPr>
                    <p:nvPr/>
                  </p:nvSpPr>
                  <p:spPr bwMode="auto">
                    <a:xfrm>
                      <a:off x="2125663" y="6310313"/>
                      <a:ext cx="77788" cy="33338"/>
                    </a:xfrm>
                    <a:custGeom>
                      <a:avLst/>
                      <a:gdLst/>
                      <a:ahLst/>
                      <a:cxnLst>
                        <a:cxn ang="0">
                          <a:pos x="0" y="5"/>
                        </a:cxn>
                        <a:cxn ang="0">
                          <a:pos x="10" y="21"/>
                        </a:cxn>
                        <a:cxn ang="0">
                          <a:pos x="49" y="0"/>
                        </a:cxn>
                      </a:cxnLst>
                      <a:rect l="0" t="0" r="r" b="b"/>
                      <a:pathLst>
                        <a:path w="49" h="21">
                          <a:moveTo>
                            <a:pt x="0" y="5"/>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7" name="Line 524"/>
                    <p:cNvSpPr>
                      <a:spLocks noChangeShapeType="1"/>
                    </p:cNvSpPr>
                    <p:nvPr/>
                  </p:nvSpPr>
                  <p:spPr bwMode="auto">
                    <a:xfrm>
                      <a:off x="2270126" y="6159500"/>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8" name="Line 525"/>
                    <p:cNvSpPr>
                      <a:spLocks noChangeShapeType="1"/>
                    </p:cNvSpPr>
                    <p:nvPr/>
                  </p:nvSpPr>
                  <p:spPr bwMode="auto">
                    <a:xfrm>
                      <a:off x="2270126" y="6243638"/>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09" name="Line 526"/>
                    <p:cNvSpPr>
                      <a:spLocks noChangeShapeType="1"/>
                    </p:cNvSpPr>
                    <p:nvPr/>
                  </p:nvSpPr>
                  <p:spPr bwMode="auto">
                    <a:xfrm>
                      <a:off x="2270126" y="6315075"/>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10" name="Freeform 527"/>
                    <p:cNvSpPr>
                      <a:spLocks/>
                    </p:cNvSpPr>
                    <p:nvPr/>
                  </p:nvSpPr>
                  <p:spPr bwMode="auto">
                    <a:xfrm>
                      <a:off x="2311401" y="6386513"/>
                      <a:ext cx="77788" cy="92075"/>
                    </a:xfrm>
                    <a:custGeom>
                      <a:avLst/>
                      <a:gdLst/>
                      <a:ahLst/>
                      <a:cxnLst>
                        <a:cxn ang="0">
                          <a:pos x="0" y="58"/>
                        </a:cxn>
                        <a:cxn ang="0">
                          <a:pos x="0" y="0"/>
                        </a:cxn>
                        <a:cxn ang="0">
                          <a:pos x="49" y="0"/>
                        </a:cxn>
                      </a:cxnLst>
                      <a:rect l="0" t="0" r="r" b="b"/>
                      <a:pathLst>
                        <a:path w="49" h="58">
                          <a:moveTo>
                            <a:pt x="0" y="58"/>
                          </a:moveTo>
                          <a:lnTo>
                            <a:pt x="0" y="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11" name="Line 528"/>
                    <p:cNvSpPr>
                      <a:spLocks noChangeShapeType="1"/>
                    </p:cNvSpPr>
                    <p:nvPr/>
                  </p:nvSpPr>
                  <p:spPr bwMode="auto">
                    <a:xfrm>
                      <a:off x="2149476" y="6054725"/>
                      <a:ext cx="15875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sp>
                  <p:nvSpPr>
                    <p:cNvPr id="112" name="Freeform 529"/>
                    <p:cNvSpPr>
                      <a:spLocks/>
                    </p:cNvSpPr>
                    <p:nvPr/>
                  </p:nvSpPr>
                  <p:spPr bwMode="auto">
                    <a:xfrm>
                      <a:off x="2125663" y="6227763"/>
                      <a:ext cx="77788" cy="33338"/>
                    </a:xfrm>
                    <a:custGeom>
                      <a:avLst/>
                      <a:gdLst/>
                      <a:ahLst/>
                      <a:cxnLst>
                        <a:cxn ang="0">
                          <a:pos x="0" y="3"/>
                        </a:cxn>
                        <a:cxn ang="0">
                          <a:pos x="10" y="21"/>
                        </a:cxn>
                        <a:cxn ang="0">
                          <a:pos x="49" y="0"/>
                        </a:cxn>
                      </a:cxnLst>
                      <a:rect l="0" t="0" r="r" b="b"/>
                      <a:pathLst>
                        <a:path w="49" h="21">
                          <a:moveTo>
                            <a:pt x="0" y="3"/>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a:solidFill>
                          <a:srgbClr val="2E2E2E"/>
                        </a:solidFill>
                        <a:cs typeface="Arial" pitchFamily="34" charset="0"/>
                      </a:endParaRPr>
                    </a:p>
                  </p:txBody>
                </p:sp>
              </p:grpSp>
              <p:sp>
                <p:nvSpPr>
                  <p:cNvPr id="103" name="Freeform 608"/>
                  <p:cNvSpPr>
                    <a:spLocks/>
                  </p:cNvSpPr>
                  <p:nvPr/>
                </p:nvSpPr>
                <p:spPr bwMode="auto">
                  <a:xfrm>
                    <a:off x="5324714" y="3427066"/>
                    <a:ext cx="954373" cy="288735"/>
                  </a:xfrm>
                  <a:custGeom>
                    <a:avLst/>
                    <a:gdLst>
                      <a:gd name="connsiteX0" fmla="*/ 8912 w 8912"/>
                      <a:gd name="connsiteY0" fmla="*/ 10000 h 10000"/>
                      <a:gd name="connsiteX1" fmla="*/ 8912 w 8912"/>
                      <a:gd name="connsiteY1" fmla="*/ 0 h 10000"/>
                      <a:gd name="connsiteX2" fmla="*/ 8097 w 8912"/>
                      <a:gd name="connsiteY2" fmla="*/ 0 h 10000"/>
                      <a:gd name="connsiteX3" fmla="*/ 8097 w 8912"/>
                      <a:gd name="connsiteY3" fmla="*/ 10000 h 10000"/>
                      <a:gd name="connsiteX4" fmla="*/ 7885 w 8912"/>
                      <a:gd name="connsiteY4" fmla="*/ 10000 h 10000"/>
                      <a:gd name="connsiteX5" fmla="*/ 7885 w 8912"/>
                      <a:gd name="connsiteY5" fmla="*/ 2383 h 10000"/>
                      <a:gd name="connsiteX6" fmla="*/ 7100 w 8912"/>
                      <a:gd name="connsiteY6" fmla="*/ 2383 h 10000"/>
                      <a:gd name="connsiteX7" fmla="*/ 7100 w 8912"/>
                      <a:gd name="connsiteY7" fmla="*/ 10000 h 10000"/>
                      <a:gd name="connsiteX8" fmla="*/ 6828 w 8912"/>
                      <a:gd name="connsiteY8" fmla="*/ 10000 h 10000"/>
                      <a:gd name="connsiteX9" fmla="*/ 6828 w 8912"/>
                      <a:gd name="connsiteY9" fmla="*/ 5130 h 10000"/>
                      <a:gd name="connsiteX10" fmla="*/ 6042 w 8912"/>
                      <a:gd name="connsiteY10" fmla="*/ 5130 h 10000"/>
                      <a:gd name="connsiteX11" fmla="*/ 6042 w 8912"/>
                      <a:gd name="connsiteY11" fmla="*/ 10000 h 10000"/>
                      <a:gd name="connsiteX12" fmla="*/ 5831 w 8912"/>
                      <a:gd name="connsiteY12" fmla="*/ 10000 h 10000"/>
                      <a:gd name="connsiteX13" fmla="*/ 5831 w 8912"/>
                      <a:gd name="connsiteY13" fmla="*/ 6788 h 10000"/>
                      <a:gd name="connsiteX14" fmla="*/ 5015 w 8912"/>
                      <a:gd name="connsiteY14" fmla="*/ 6788 h 10000"/>
                      <a:gd name="connsiteX15" fmla="*/ 5015 w 8912"/>
                      <a:gd name="connsiteY15" fmla="*/ 10000 h 10000"/>
                      <a:gd name="connsiteX16" fmla="*/ 4804 w 8912"/>
                      <a:gd name="connsiteY16" fmla="*/ 10000 h 10000"/>
                      <a:gd name="connsiteX17" fmla="*/ 4804 w 8912"/>
                      <a:gd name="connsiteY17" fmla="*/ 7720 h 10000"/>
                      <a:gd name="connsiteX18" fmla="*/ 4018 w 8912"/>
                      <a:gd name="connsiteY18" fmla="*/ 7720 h 10000"/>
                      <a:gd name="connsiteX19" fmla="*/ 4018 w 8912"/>
                      <a:gd name="connsiteY19" fmla="*/ 10000 h 10000"/>
                      <a:gd name="connsiteX20" fmla="*/ 3776 w 8912"/>
                      <a:gd name="connsiteY20" fmla="*/ 10000 h 10000"/>
                      <a:gd name="connsiteX21" fmla="*/ 3776 w 8912"/>
                      <a:gd name="connsiteY21" fmla="*/ 8394 h 10000"/>
                      <a:gd name="connsiteX22" fmla="*/ 3021 w 8912"/>
                      <a:gd name="connsiteY22" fmla="*/ 8394 h 10000"/>
                      <a:gd name="connsiteX23" fmla="*/ 3021 w 8912"/>
                      <a:gd name="connsiteY23" fmla="*/ 10000 h 10000"/>
                      <a:gd name="connsiteX24" fmla="*/ 2779 w 8912"/>
                      <a:gd name="connsiteY24" fmla="*/ 10000 h 10000"/>
                      <a:gd name="connsiteX25" fmla="*/ 2779 w 8912"/>
                      <a:gd name="connsiteY25" fmla="*/ 8756 h 10000"/>
                      <a:gd name="connsiteX26" fmla="*/ 1994 w 8912"/>
                      <a:gd name="connsiteY26" fmla="*/ 8756 h 10000"/>
                      <a:gd name="connsiteX27" fmla="*/ 1994 w 8912"/>
                      <a:gd name="connsiteY27" fmla="*/ 10000 h 10000"/>
                      <a:gd name="connsiteX28" fmla="*/ 1722 w 8912"/>
                      <a:gd name="connsiteY28" fmla="*/ 10000 h 10000"/>
                      <a:gd name="connsiteX29" fmla="*/ 1722 w 8912"/>
                      <a:gd name="connsiteY29" fmla="*/ 9326 h 10000"/>
                      <a:gd name="connsiteX30" fmla="*/ 997 w 8912"/>
                      <a:gd name="connsiteY30" fmla="*/ 9326 h 10000"/>
                      <a:gd name="connsiteX31" fmla="*/ 997 w 8912"/>
                      <a:gd name="connsiteY31" fmla="*/ 10000 h 10000"/>
                      <a:gd name="connsiteX32" fmla="*/ 0 w 8912"/>
                      <a:gd name="connsiteY32" fmla="*/ 10000 h 10000"/>
                      <a:gd name="connsiteX0" fmla="*/ 10000 w 10000"/>
                      <a:gd name="connsiteY0" fmla="*/ 0 h 10000"/>
                      <a:gd name="connsiteX1" fmla="*/ 9086 w 10000"/>
                      <a:gd name="connsiteY1" fmla="*/ 0 h 10000"/>
                      <a:gd name="connsiteX2" fmla="*/ 9086 w 10000"/>
                      <a:gd name="connsiteY2" fmla="*/ 10000 h 10000"/>
                      <a:gd name="connsiteX3" fmla="*/ 8848 w 10000"/>
                      <a:gd name="connsiteY3" fmla="*/ 10000 h 10000"/>
                      <a:gd name="connsiteX4" fmla="*/ 8848 w 10000"/>
                      <a:gd name="connsiteY4" fmla="*/ 2383 h 10000"/>
                      <a:gd name="connsiteX5" fmla="*/ 7967 w 10000"/>
                      <a:gd name="connsiteY5" fmla="*/ 2383 h 10000"/>
                      <a:gd name="connsiteX6" fmla="*/ 7967 w 10000"/>
                      <a:gd name="connsiteY6" fmla="*/ 10000 h 10000"/>
                      <a:gd name="connsiteX7" fmla="*/ 7662 w 10000"/>
                      <a:gd name="connsiteY7" fmla="*/ 10000 h 10000"/>
                      <a:gd name="connsiteX8" fmla="*/ 7662 w 10000"/>
                      <a:gd name="connsiteY8" fmla="*/ 5130 h 10000"/>
                      <a:gd name="connsiteX9" fmla="*/ 6780 w 10000"/>
                      <a:gd name="connsiteY9" fmla="*/ 5130 h 10000"/>
                      <a:gd name="connsiteX10" fmla="*/ 6780 w 10000"/>
                      <a:gd name="connsiteY10" fmla="*/ 10000 h 10000"/>
                      <a:gd name="connsiteX11" fmla="*/ 6543 w 10000"/>
                      <a:gd name="connsiteY11" fmla="*/ 10000 h 10000"/>
                      <a:gd name="connsiteX12" fmla="*/ 6543 w 10000"/>
                      <a:gd name="connsiteY12" fmla="*/ 6788 h 10000"/>
                      <a:gd name="connsiteX13" fmla="*/ 5627 w 10000"/>
                      <a:gd name="connsiteY13" fmla="*/ 6788 h 10000"/>
                      <a:gd name="connsiteX14" fmla="*/ 5627 w 10000"/>
                      <a:gd name="connsiteY14" fmla="*/ 10000 h 10000"/>
                      <a:gd name="connsiteX15" fmla="*/ 5390 w 10000"/>
                      <a:gd name="connsiteY15" fmla="*/ 10000 h 10000"/>
                      <a:gd name="connsiteX16" fmla="*/ 5390 w 10000"/>
                      <a:gd name="connsiteY16" fmla="*/ 7720 h 10000"/>
                      <a:gd name="connsiteX17" fmla="*/ 4509 w 10000"/>
                      <a:gd name="connsiteY17" fmla="*/ 7720 h 10000"/>
                      <a:gd name="connsiteX18" fmla="*/ 4509 w 10000"/>
                      <a:gd name="connsiteY18" fmla="*/ 10000 h 10000"/>
                      <a:gd name="connsiteX19" fmla="*/ 4237 w 10000"/>
                      <a:gd name="connsiteY19" fmla="*/ 10000 h 10000"/>
                      <a:gd name="connsiteX20" fmla="*/ 4237 w 10000"/>
                      <a:gd name="connsiteY20" fmla="*/ 8394 h 10000"/>
                      <a:gd name="connsiteX21" fmla="*/ 3390 w 10000"/>
                      <a:gd name="connsiteY21" fmla="*/ 8394 h 10000"/>
                      <a:gd name="connsiteX22" fmla="*/ 3390 w 10000"/>
                      <a:gd name="connsiteY22" fmla="*/ 10000 h 10000"/>
                      <a:gd name="connsiteX23" fmla="*/ 3118 w 10000"/>
                      <a:gd name="connsiteY23" fmla="*/ 10000 h 10000"/>
                      <a:gd name="connsiteX24" fmla="*/ 3118 w 10000"/>
                      <a:gd name="connsiteY24" fmla="*/ 8756 h 10000"/>
                      <a:gd name="connsiteX25" fmla="*/ 2237 w 10000"/>
                      <a:gd name="connsiteY25" fmla="*/ 8756 h 10000"/>
                      <a:gd name="connsiteX26" fmla="*/ 2237 w 10000"/>
                      <a:gd name="connsiteY26" fmla="*/ 10000 h 10000"/>
                      <a:gd name="connsiteX27" fmla="*/ 1932 w 10000"/>
                      <a:gd name="connsiteY27" fmla="*/ 10000 h 10000"/>
                      <a:gd name="connsiteX28" fmla="*/ 1932 w 10000"/>
                      <a:gd name="connsiteY28" fmla="*/ 9326 h 10000"/>
                      <a:gd name="connsiteX29" fmla="*/ 1119 w 10000"/>
                      <a:gd name="connsiteY29" fmla="*/ 9326 h 10000"/>
                      <a:gd name="connsiteX30" fmla="*/ 1119 w 10000"/>
                      <a:gd name="connsiteY30" fmla="*/ 10000 h 10000"/>
                      <a:gd name="connsiteX31" fmla="*/ 0 w 10000"/>
                      <a:gd name="connsiteY31" fmla="*/ 10000 h 10000"/>
                      <a:gd name="connsiteX0" fmla="*/ 10000 w 10000"/>
                      <a:gd name="connsiteY0" fmla="*/ 0 h 10000"/>
                      <a:gd name="connsiteX1" fmla="*/ 9086 w 10000"/>
                      <a:gd name="connsiteY1" fmla="*/ 0 h 10000"/>
                      <a:gd name="connsiteX2" fmla="*/ 9086 w 10000"/>
                      <a:gd name="connsiteY2" fmla="*/ 10000 h 10000"/>
                      <a:gd name="connsiteX3" fmla="*/ 8848 w 10000"/>
                      <a:gd name="connsiteY3" fmla="*/ 10000 h 10000"/>
                      <a:gd name="connsiteX4" fmla="*/ 8848 w 10000"/>
                      <a:gd name="connsiteY4" fmla="*/ 2383 h 10000"/>
                      <a:gd name="connsiteX5" fmla="*/ 7967 w 10000"/>
                      <a:gd name="connsiteY5" fmla="*/ 2383 h 10000"/>
                      <a:gd name="connsiteX6" fmla="*/ 7967 w 10000"/>
                      <a:gd name="connsiteY6" fmla="*/ 10000 h 10000"/>
                      <a:gd name="connsiteX7" fmla="*/ 7662 w 10000"/>
                      <a:gd name="connsiteY7" fmla="*/ 10000 h 10000"/>
                      <a:gd name="connsiteX8" fmla="*/ 7662 w 10000"/>
                      <a:gd name="connsiteY8" fmla="*/ 5130 h 10000"/>
                      <a:gd name="connsiteX9" fmla="*/ 6780 w 10000"/>
                      <a:gd name="connsiteY9" fmla="*/ 5130 h 10000"/>
                      <a:gd name="connsiteX10" fmla="*/ 6780 w 10000"/>
                      <a:gd name="connsiteY10" fmla="*/ 10000 h 10000"/>
                      <a:gd name="connsiteX11" fmla="*/ 6543 w 10000"/>
                      <a:gd name="connsiteY11" fmla="*/ 10000 h 10000"/>
                      <a:gd name="connsiteX12" fmla="*/ 6543 w 10000"/>
                      <a:gd name="connsiteY12" fmla="*/ 6788 h 10000"/>
                      <a:gd name="connsiteX13" fmla="*/ 5627 w 10000"/>
                      <a:gd name="connsiteY13" fmla="*/ 6788 h 10000"/>
                      <a:gd name="connsiteX14" fmla="*/ 5627 w 10000"/>
                      <a:gd name="connsiteY14" fmla="*/ 10000 h 10000"/>
                      <a:gd name="connsiteX15" fmla="*/ 5390 w 10000"/>
                      <a:gd name="connsiteY15" fmla="*/ 10000 h 10000"/>
                      <a:gd name="connsiteX16" fmla="*/ 5390 w 10000"/>
                      <a:gd name="connsiteY16" fmla="*/ 7720 h 10000"/>
                      <a:gd name="connsiteX17" fmla="*/ 4509 w 10000"/>
                      <a:gd name="connsiteY17" fmla="*/ 7720 h 10000"/>
                      <a:gd name="connsiteX18" fmla="*/ 4509 w 10000"/>
                      <a:gd name="connsiteY18" fmla="*/ 10000 h 10000"/>
                      <a:gd name="connsiteX19" fmla="*/ 4237 w 10000"/>
                      <a:gd name="connsiteY19" fmla="*/ 10000 h 10000"/>
                      <a:gd name="connsiteX20" fmla="*/ 4237 w 10000"/>
                      <a:gd name="connsiteY20" fmla="*/ 8394 h 10000"/>
                      <a:gd name="connsiteX21" fmla="*/ 3390 w 10000"/>
                      <a:gd name="connsiteY21" fmla="*/ 8394 h 10000"/>
                      <a:gd name="connsiteX22" fmla="*/ 3390 w 10000"/>
                      <a:gd name="connsiteY22" fmla="*/ 10000 h 10000"/>
                      <a:gd name="connsiteX23" fmla="*/ 3118 w 10000"/>
                      <a:gd name="connsiteY23" fmla="*/ 10000 h 10000"/>
                      <a:gd name="connsiteX24" fmla="*/ 3118 w 10000"/>
                      <a:gd name="connsiteY24" fmla="*/ 8756 h 10000"/>
                      <a:gd name="connsiteX25" fmla="*/ 2237 w 10000"/>
                      <a:gd name="connsiteY25" fmla="*/ 8756 h 10000"/>
                      <a:gd name="connsiteX26" fmla="*/ 2237 w 10000"/>
                      <a:gd name="connsiteY26" fmla="*/ 10000 h 10000"/>
                      <a:gd name="connsiteX27" fmla="*/ 1932 w 10000"/>
                      <a:gd name="connsiteY27" fmla="*/ 10000 h 10000"/>
                      <a:gd name="connsiteX28" fmla="*/ 1932 w 10000"/>
                      <a:gd name="connsiteY28" fmla="*/ 9326 h 10000"/>
                      <a:gd name="connsiteX29" fmla="*/ 1119 w 10000"/>
                      <a:gd name="connsiteY29" fmla="*/ 9326 h 10000"/>
                      <a:gd name="connsiteX30" fmla="*/ 1119 w 10000"/>
                      <a:gd name="connsiteY30" fmla="*/ 10000 h 10000"/>
                      <a:gd name="connsiteX31" fmla="*/ 0 w 10000"/>
                      <a:gd name="connsiteY31" fmla="*/ 10000 h 10000"/>
                      <a:gd name="connsiteX0" fmla="*/ 10000 w 10000"/>
                      <a:gd name="connsiteY0" fmla="*/ 0 h 10000"/>
                      <a:gd name="connsiteX1" fmla="*/ 9086 w 10000"/>
                      <a:gd name="connsiteY1" fmla="*/ 0 h 10000"/>
                      <a:gd name="connsiteX2" fmla="*/ 8848 w 10000"/>
                      <a:gd name="connsiteY2" fmla="*/ 10000 h 10000"/>
                      <a:gd name="connsiteX3" fmla="*/ 8848 w 10000"/>
                      <a:gd name="connsiteY3" fmla="*/ 2383 h 10000"/>
                      <a:gd name="connsiteX4" fmla="*/ 7967 w 10000"/>
                      <a:gd name="connsiteY4" fmla="*/ 2383 h 10000"/>
                      <a:gd name="connsiteX5" fmla="*/ 7967 w 10000"/>
                      <a:gd name="connsiteY5" fmla="*/ 10000 h 10000"/>
                      <a:gd name="connsiteX6" fmla="*/ 7662 w 10000"/>
                      <a:gd name="connsiteY6" fmla="*/ 10000 h 10000"/>
                      <a:gd name="connsiteX7" fmla="*/ 7662 w 10000"/>
                      <a:gd name="connsiteY7" fmla="*/ 5130 h 10000"/>
                      <a:gd name="connsiteX8" fmla="*/ 6780 w 10000"/>
                      <a:gd name="connsiteY8" fmla="*/ 5130 h 10000"/>
                      <a:gd name="connsiteX9" fmla="*/ 6780 w 10000"/>
                      <a:gd name="connsiteY9" fmla="*/ 10000 h 10000"/>
                      <a:gd name="connsiteX10" fmla="*/ 6543 w 10000"/>
                      <a:gd name="connsiteY10" fmla="*/ 10000 h 10000"/>
                      <a:gd name="connsiteX11" fmla="*/ 6543 w 10000"/>
                      <a:gd name="connsiteY11" fmla="*/ 6788 h 10000"/>
                      <a:gd name="connsiteX12" fmla="*/ 5627 w 10000"/>
                      <a:gd name="connsiteY12" fmla="*/ 6788 h 10000"/>
                      <a:gd name="connsiteX13" fmla="*/ 5627 w 10000"/>
                      <a:gd name="connsiteY13" fmla="*/ 10000 h 10000"/>
                      <a:gd name="connsiteX14" fmla="*/ 5390 w 10000"/>
                      <a:gd name="connsiteY14" fmla="*/ 10000 h 10000"/>
                      <a:gd name="connsiteX15" fmla="*/ 5390 w 10000"/>
                      <a:gd name="connsiteY15" fmla="*/ 7720 h 10000"/>
                      <a:gd name="connsiteX16" fmla="*/ 4509 w 10000"/>
                      <a:gd name="connsiteY16" fmla="*/ 7720 h 10000"/>
                      <a:gd name="connsiteX17" fmla="*/ 4509 w 10000"/>
                      <a:gd name="connsiteY17" fmla="*/ 10000 h 10000"/>
                      <a:gd name="connsiteX18" fmla="*/ 4237 w 10000"/>
                      <a:gd name="connsiteY18" fmla="*/ 10000 h 10000"/>
                      <a:gd name="connsiteX19" fmla="*/ 4237 w 10000"/>
                      <a:gd name="connsiteY19" fmla="*/ 8394 h 10000"/>
                      <a:gd name="connsiteX20" fmla="*/ 3390 w 10000"/>
                      <a:gd name="connsiteY20" fmla="*/ 8394 h 10000"/>
                      <a:gd name="connsiteX21" fmla="*/ 3390 w 10000"/>
                      <a:gd name="connsiteY21" fmla="*/ 10000 h 10000"/>
                      <a:gd name="connsiteX22" fmla="*/ 3118 w 10000"/>
                      <a:gd name="connsiteY22" fmla="*/ 10000 h 10000"/>
                      <a:gd name="connsiteX23" fmla="*/ 3118 w 10000"/>
                      <a:gd name="connsiteY23" fmla="*/ 8756 h 10000"/>
                      <a:gd name="connsiteX24" fmla="*/ 2237 w 10000"/>
                      <a:gd name="connsiteY24" fmla="*/ 8756 h 10000"/>
                      <a:gd name="connsiteX25" fmla="*/ 2237 w 10000"/>
                      <a:gd name="connsiteY25" fmla="*/ 10000 h 10000"/>
                      <a:gd name="connsiteX26" fmla="*/ 1932 w 10000"/>
                      <a:gd name="connsiteY26" fmla="*/ 10000 h 10000"/>
                      <a:gd name="connsiteX27" fmla="*/ 1932 w 10000"/>
                      <a:gd name="connsiteY27" fmla="*/ 9326 h 10000"/>
                      <a:gd name="connsiteX28" fmla="*/ 1119 w 10000"/>
                      <a:gd name="connsiteY28" fmla="*/ 9326 h 10000"/>
                      <a:gd name="connsiteX29" fmla="*/ 1119 w 10000"/>
                      <a:gd name="connsiteY29" fmla="*/ 10000 h 10000"/>
                      <a:gd name="connsiteX30" fmla="*/ 0 w 10000"/>
                      <a:gd name="connsiteY30"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967 w 10000"/>
                      <a:gd name="connsiteY4" fmla="*/ 10000 h 10000"/>
                      <a:gd name="connsiteX5" fmla="*/ 7662 w 10000"/>
                      <a:gd name="connsiteY5" fmla="*/ 10000 h 10000"/>
                      <a:gd name="connsiteX6" fmla="*/ 7662 w 10000"/>
                      <a:gd name="connsiteY6" fmla="*/ 5130 h 10000"/>
                      <a:gd name="connsiteX7" fmla="*/ 6780 w 10000"/>
                      <a:gd name="connsiteY7" fmla="*/ 5130 h 10000"/>
                      <a:gd name="connsiteX8" fmla="*/ 6780 w 10000"/>
                      <a:gd name="connsiteY8" fmla="*/ 10000 h 10000"/>
                      <a:gd name="connsiteX9" fmla="*/ 6543 w 10000"/>
                      <a:gd name="connsiteY9" fmla="*/ 10000 h 10000"/>
                      <a:gd name="connsiteX10" fmla="*/ 6543 w 10000"/>
                      <a:gd name="connsiteY10" fmla="*/ 6788 h 10000"/>
                      <a:gd name="connsiteX11" fmla="*/ 5627 w 10000"/>
                      <a:gd name="connsiteY11" fmla="*/ 6788 h 10000"/>
                      <a:gd name="connsiteX12" fmla="*/ 5627 w 10000"/>
                      <a:gd name="connsiteY12" fmla="*/ 10000 h 10000"/>
                      <a:gd name="connsiteX13" fmla="*/ 5390 w 10000"/>
                      <a:gd name="connsiteY13" fmla="*/ 10000 h 10000"/>
                      <a:gd name="connsiteX14" fmla="*/ 5390 w 10000"/>
                      <a:gd name="connsiteY14" fmla="*/ 7720 h 10000"/>
                      <a:gd name="connsiteX15" fmla="*/ 4509 w 10000"/>
                      <a:gd name="connsiteY15" fmla="*/ 7720 h 10000"/>
                      <a:gd name="connsiteX16" fmla="*/ 4509 w 10000"/>
                      <a:gd name="connsiteY16" fmla="*/ 10000 h 10000"/>
                      <a:gd name="connsiteX17" fmla="*/ 4237 w 10000"/>
                      <a:gd name="connsiteY17" fmla="*/ 10000 h 10000"/>
                      <a:gd name="connsiteX18" fmla="*/ 4237 w 10000"/>
                      <a:gd name="connsiteY18" fmla="*/ 8394 h 10000"/>
                      <a:gd name="connsiteX19" fmla="*/ 3390 w 10000"/>
                      <a:gd name="connsiteY19" fmla="*/ 8394 h 10000"/>
                      <a:gd name="connsiteX20" fmla="*/ 3390 w 10000"/>
                      <a:gd name="connsiteY20" fmla="*/ 10000 h 10000"/>
                      <a:gd name="connsiteX21" fmla="*/ 3118 w 10000"/>
                      <a:gd name="connsiteY21" fmla="*/ 10000 h 10000"/>
                      <a:gd name="connsiteX22" fmla="*/ 3118 w 10000"/>
                      <a:gd name="connsiteY22" fmla="*/ 8756 h 10000"/>
                      <a:gd name="connsiteX23" fmla="*/ 2237 w 10000"/>
                      <a:gd name="connsiteY23" fmla="*/ 8756 h 10000"/>
                      <a:gd name="connsiteX24" fmla="*/ 2237 w 10000"/>
                      <a:gd name="connsiteY24" fmla="*/ 10000 h 10000"/>
                      <a:gd name="connsiteX25" fmla="*/ 1932 w 10000"/>
                      <a:gd name="connsiteY25" fmla="*/ 10000 h 10000"/>
                      <a:gd name="connsiteX26" fmla="*/ 1932 w 10000"/>
                      <a:gd name="connsiteY26" fmla="*/ 9326 h 10000"/>
                      <a:gd name="connsiteX27" fmla="*/ 1119 w 10000"/>
                      <a:gd name="connsiteY27" fmla="*/ 9326 h 10000"/>
                      <a:gd name="connsiteX28" fmla="*/ 1119 w 10000"/>
                      <a:gd name="connsiteY28" fmla="*/ 10000 h 10000"/>
                      <a:gd name="connsiteX29" fmla="*/ 0 w 10000"/>
                      <a:gd name="connsiteY29"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967 w 10000"/>
                      <a:gd name="connsiteY4" fmla="*/ 10000 h 10000"/>
                      <a:gd name="connsiteX5" fmla="*/ 7662 w 10000"/>
                      <a:gd name="connsiteY5" fmla="*/ 10000 h 10000"/>
                      <a:gd name="connsiteX6" fmla="*/ 7662 w 10000"/>
                      <a:gd name="connsiteY6" fmla="*/ 5130 h 10000"/>
                      <a:gd name="connsiteX7" fmla="*/ 6780 w 10000"/>
                      <a:gd name="connsiteY7" fmla="*/ 5130 h 10000"/>
                      <a:gd name="connsiteX8" fmla="*/ 6780 w 10000"/>
                      <a:gd name="connsiteY8" fmla="*/ 10000 h 10000"/>
                      <a:gd name="connsiteX9" fmla="*/ 6543 w 10000"/>
                      <a:gd name="connsiteY9" fmla="*/ 10000 h 10000"/>
                      <a:gd name="connsiteX10" fmla="*/ 6543 w 10000"/>
                      <a:gd name="connsiteY10" fmla="*/ 6788 h 10000"/>
                      <a:gd name="connsiteX11" fmla="*/ 5627 w 10000"/>
                      <a:gd name="connsiteY11" fmla="*/ 6788 h 10000"/>
                      <a:gd name="connsiteX12" fmla="*/ 5627 w 10000"/>
                      <a:gd name="connsiteY12" fmla="*/ 10000 h 10000"/>
                      <a:gd name="connsiteX13" fmla="*/ 5390 w 10000"/>
                      <a:gd name="connsiteY13" fmla="*/ 10000 h 10000"/>
                      <a:gd name="connsiteX14" fmla="*/ 5390 w 10000"/>
                      <a:gd name="connsiteY14" fmla="*/ 7720 h 10000"/>
                      <a:gd name="connsiteX15" fmla="*/ 4509 w 10000"/>
                      <a:gd name="connsiteY15" fmla="*/ 7720 h 10000"/>
                      <a:gd name="connsiteX16" fmla="*/ 4509 w 10000"/>
                      <a:gd name="connsiteY16" fmla="*/ 10000 h 10000"/>
                      <a:gd name="connsiteX17" fmla="*/ 4237 w 10000"/>
                      <a:gd name="connsiteY17" fmla="*/ 10000 h 10000"/>
                      <a:gd name="connsiteX18" fmla="*/ 4237 w 10000"/>
                      <a:gd name="connsiteY18" fmla="*/ 8394 h 10000"/>
                      <a:gd name="connsiteX19" fmla="*/ 3390 w 10000"/>
                      <a:gd name="connsiteY19" fmla="*/ 8394 h 10000"/>
                      <a:gd name="connsiteX20" fmla="*/ 3390 w 10000"/>
                      <a:gd name="connsiteY20" fmla="*/ 10000 h 10000"/>
                      <a:gd name="connsiteX21" fmla="*/ 3118 w 10000"/>
                      <a:gd name="connsiteY21" fmla="*/ 10000 h 10000"/>
                      <a:gd name="connsiteX22" fmla="*/ 3118 w 10000"/>
                      <a:gd name="connsiteY22" fmla="*/ 8756 h 10000"/>
                      <a:gd name="connsiteX23" fmla="*/ 2237 w 10000"/>
                      <a:gd name="connsiteY23" fmla="*/ 8756 h 10000"/>
                      <a:gd name="connsiteX24" fmla="*/ 2237 w 10000"/>
                      <a:gd name="connsiteY24" fmla="*/ 10000 h 10000"/>
                      <a:gd name="connsiteX25" fmla="*/ 1932 w 10000"/>
                      <a:gd name="connsiteY25" fmla="*/ 10000 h 10000"/>
                      <a:gd name="connsiteX26" fmla="*/ 1932 w 10000"/>
                      <a:gd name="connsiteY26" fmla="*/ 9326 h 10000"/>
                      <a:gd name="connsiteX27" fmla="*/ 1119 w 10000"/>
                      <a:gd name="connsiteY27" fmla="*/ 9326 h 10000"/>
                      <a:gd name="connsiteX28" fmla="*/ 1119 w 10000"/>
                      <a:gd name="connsiteY28" fmla="*/ 10000 h 10000"/>
                      <a:gd name="connsiteX29" fmla="*/ 0 w 10000"/>
                      <a:gd name="connsiteY29"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662 w 10000"/>
                      <a:gd name="connsiteY4" fmla="*/ 10000 h 10000"/>
                      <a:gd name="connsiteX5" fmla="*/ 7662 w 10000"/>
                      <a:gd name="connsiteY5" fmla="*/ 5130 h 10000"/>
                      <a:gd name="connsiteX6" fmla="*/ 6780 w 10000"/>
                      <a:gd name="connsiteY6" fmla="*/ 5130 h 10000"/>
                      <a:gd name="connsiteX7" fmla="*/ 6780 w 10000"/>
                      <a:gd name="connsiteY7" fmla="*/ 10000 h 10000"/>
                      <a:gd name="connsiteX8" fmla="*/ 6543 w 10000"/>
                      <a:gd name="connsiteY8" fmla="*/ 10000 h 10000"/>
                      <a:gd name="connsiteX9" fmla="*/ 6543 w 10000"/>
                      <a:gd name="connsiteY9" fmla="*/ 6788 h 10000"/>
                      <a:gd name="connsiteX10" fmla="*/ 5627 w 10000"/>
                      <a:gd name="connsiteY10" fmla="*/ 6788 h 10000"/>
                      <a:gd name="connsiteX11" fmla="*/ 5627 w 10000"/>
                      <a:gd name="connsiteY11" fmla="*/ 10000 h 10000"/>
                      <a:gd name="connsiteX12" fmla="*/ 5390 w 10000"/>
                      <a:gd name="connsiteY12" fmla="*/ 10000 h 10000"/>
                      <a:gd name="connsiteX13" fmla="*/ 5390 w 10000"/>
                      <a:gd name="connsiteY13" fmla="*/ 7720 h 10000"/>
                      <a:gd name="connsiteX14" fmla="*/ 4509 w 10000"/>
                      <a:gd name="connsiteY14" fmla="*/ 7720 h 10000"/>
                      <a:gd name="connsiteX15" fmla="*/ 4509 w 10000"/>
                      <a:gd name="connsiteY15" fmla="*/ 10000 h 10000"/>
                      <a:gd name="connsiteX16" fmla="*/ 4237 w 10000"/>
                      <a:gd name="connsiteY16" fmla="*/ 10000 h 10000"/>
                      <a:gd name="connsiteX17" fmla="*/ 4237 w 10000"/>
                      <a:gd name="connsiteY17" fmla="*/ 8394 h 10000"/>
                      <a:gd name="connsiteX18" fmla="*/ 3390 w 10000"/>
                      <a:gd name="connsiteY18" fmla="*/ 8394 h 10000"/>
                      <a:gd name="connsiteX19" fmla="*/ 3390 w 10000"/>
                      <a:gd name="connsiteY19" fmla="*/ 10000 h 10000"/>
                      <a:gd name="connsiteX20" fmla="*/ 3118 w 10000"/>
                      <a:gd name="connsiteY20" fmla="*/ 10000 h 10000"/>
                      <a:gd name="connsiteX21" fmla="*/ 3118 w 10000"/>
                      <a:gd name="connsiteY21" fmla="*/ 8756 h 10000"/>
                      <a:gd name="connsiteX22" fmla="*/ 2237 w 10000"/>
                      <a:gd name="connsiteY22" fmla="*/ 8756 h 10000"/>
                      <a:gd name="connsiteX23" fmla="*/ 2237 w 10000"/>
                      <a:gd name="connsiteY23" fmla="*/ 10000 h 10000"/>
                      <a:gd name="connsiteX24" fmla="*/ 1932 w 10000"/>
                      <a:gd name="connsiteY24" fmla="*/ 10000 h 10000"/>
                      <a:gd name="connsiteX25" fmla="*/ 1932 w 10000"/>
                      <a:gd name="connsiteY25" fmla="*/ 9326 h 10000"/>
                      <a:gd name="connsiteX26" fmla="*/ 1119 w 10000"/>
                      <a:gd name="connsiteY26" fmla="*/ 9326 h 10000"/>
                      <a:gd name="connsiteX27" fmla="*/ 1119 w 10000"/>
                      <a:gd name="connsiteY27" fmla="*/ 10000 h 10000"/>
                      <a:gd name="connsiteX28" fmla="*/ 0 w 10000"/>
                      <a:gd name="connsiteY28"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7662 w 10000"/>
                      <a:gd name="connsiteY4" fmla="*/ 5130 h 10000"/>
                      <a:gd name="connsiteX5" fmla="*/ 6780 w 10000"/>
                      <a:gd name="connsiteY5" fmla="*/ 5130 h 10000"/>
                      <a:gd name="connsiteX6" fmla="*/ 6780 w 10000"/>
                      <a:gd name="connsiteY6" fmla="*/ 10000 h 10000"/>
                      <a:gd name="connsiteX7" fmla="*/ 6543 w 10000"/>
                      <a:gd name="connsiteY7" fmla="*/ 10000 h 10000"/>
                      <a:gd name="connsiteX8" fmla="*/ 6543 w 10000"/>
                      <a:gd name="connsiteY8" fmla="*/ 6788 h 10000"/>
                      <a:gd name="connsiteX9" fmla="*/ 5627 w 10000"/>
                      <a:gd name="connsiteY9" fmla="*/ 6788 h 10000"/>
                      <a:gd name="connsiteX10" fmla="*/ 5627 w 10000"/>
                      <a:gd name="connsiteY10" fmla="*/ 10000 h 10000"/>
                      <a:gd name="connsiteX11" fmla="*/ 5390 w 10000"/>
                      <a:gd name="connsiteY11" fmla="*/ 10000 h 10000"/>
                      <a:gd name="connsiteX12" fmla="*/ 5390 w 10000"/>
                      <a:gd name="connsiteY12" fmla="*/ 7720 h 10000"/>
                      <a:gd name="connsiteX13" fmla="*/ 4509 w 10000"/>
                      <a:gd name="connsiteY13" fmla="*/ 7720 h 10000"/>
                      <a:gd name="connsiteX14" fmla="*/ 4509 w 10000"/>
                      <a:gd name="connsiteY14" fmla="*/ 10000 h 10000"/>
                      <a:gd name="connsiteX15" fmla="*/ 4237 w 10000"/>
                      <a:gd name="connsiteY15" fmla="*/ 10000 h 10000"/>
                      <a:gd name="connsiteX16" fmla="*/ 4237 w 10000"/>
                      <a:gd name="connsiteY16" fmla="*/ 8394 h 10000"/>
                      <a:gd name="connsiteX17" fmla="*/ 3390 w 10000"/>
                      <a:gd name="connsiteY17" fmla="*/ 8394 h 10000"/>
                      <a:gd name="connsiteX18" fmla="*/ 3390 w 10000"/>
                      <a:gd name="connsiteY18" fmla="*/ 10000 h 10000"/>
                      <a:gd name="connsiteX19" fmla="*/ 3118 w 10000"/>
                      <a:gd name="connsiteY19" fmla="*/ 10000 h 10000"/>
                      <a:gd name="connsiteX20" fmla="*/ 3118 w 10000"/>
                      <a:gd name="connsiteY20" fmla="*/ 8756 h 10000"/>
                      <a:gd name="connsiteX21" fmla="*/ 2237 w 10000"/>
                      <a:gd name="connsiteY21" fmla="*/ 8756 h 10000"/>
                      <a:gd name="connsiteX22" fmla="*/ 2237 w 10000"/>
                      <a:gd name="connsiteY22" fmla="*/ 10000 h 10000"/>
                      <a:gd name="connsiteX23" fmla="*/ 1932 w 10000"/>
                      <a:gd name="connsiteY23" fmla="*/ 10000 h 10000"/>
                      <a:gd name="connsiteX24" fmla="*/ 1932 w 10000"/>
                      <a:gd name="connsiteY24" fmla="*/ 9326 h 10000"/>
                      <a:gd name="connsiteX25" fmla="*/ 1119 w 10000"/>
                      <a:gd name="connsiteY25" fmla="*/ 9326 h 10000"/>
                      <a:gd name="connsiteX26" fmla="*/ 1119 w 10000"/>
                      <a:gd name="connsiteY26" fmla="*/ 10000 h 10000"/>
                      <a:gd name="connsiteX27" fmla="*/ 0 w 10000"/>
                      <a:gd name="connsiteY27"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780 w 10000"/>
                      <a:gd name="connsiteY4" fmla="*/ 5130 h 10000"/>
                      <a:gd name="connsiteX5" fmla="*/ 6780 w 10000"/>
                      <a:gd name="connsiteY5" fmla="*/ 10000 h 10000"/>
                      <a:gd name="connsiteX6" fmla="*/ 6543 w 10000"/>
                      <a:gd name="connsiteY6" fmla="*/ 10000 h 10000"/>
                      <a:gd name="connsiteX7" fmla="*/ 6543 w 10000"/>
                      <a:gd name="connsiteY7" fmla="*/ 6788 h 10000"/>
                      <a:gd name="connsiteX8" fmla="*/ 5627 w 10000"/>
                      <a:gd name="connsiteY8" fmla="*/ 6788 h 10000"/>
                      <a:gd name="connsiteX9" fmla="*/ 5627 w 10000"/>
                      <a:gd name="connsiteY9" fmla="*/ 10000 h 10000"/>
                      <a:gd name="connsiteX10" fmla="*/ 5390 w 10000"/>
                      <a:gd name="connsiteY10" fmla="*/ 10000 h 10000"/>
                      <a:gd name="connsiteX11" fmla="*/ 5390 w 10000"/>
                      <a:gd name="connsiteY11" fmla="*/ 7720 h 10000"/>
                      <a:gd name="connsiteX12" fmla="*/ 4509 w 10000"/>
                      <a:gd name="connsiteY12" fmla="*/ 7720 h 10000"/>
                      <a:gd name="connsiteX13" fmla="*/ 4509 w 10000"/>
                      <a:gd name="connsiteY13" fmla="*/ 10000 h 10000"/>
                      <a:gd name="connsiteX14" fmla="*/ 4237 w 10000"/>
                      <a:gd name="connsiteY14" fmla="*/ 10000 h 10000"/>
                      <a:gd name="connsiteX15" fmla="*/ 4237 w 10000"/>
                      <a:gd name="connsiteY15" fmla="*/ 8394 h 10000"/>
                      <a:gd name="connsiteX16" fmla="*/ 3390 w 10000"/>
                      <a:gd name="connsiteY16" fmla="*/ 8394 h 10000"/>
                      <a:gd name="connsiteX17" fmla="*/ 3390 w 10000"/>
                      <a:gd name="connsiteY17" fmla="*/ 10000 h 10000"/>
                      <a:gd name="connsiteX18" fmla="*/ 3118 w 10000"/>
                      <a:gd name="connsiteY18" fmla="*/ 10000 h 10000"/>
                      <a:gd name="connsiteX19" fmla="*/ 3118 w 10000"/>
                      <a:gd name="connsiteY19" fmla="*/ 8756 h 10000"/>
                      <a:gd name="connsiteX20" fmla="*/ 2237 w 10000"/>
                      <a:gd name="connsiteY20" fmla="*/ 8756 h 10000"/>
                      <a:gd name="connsiteX21" fmla="*/ 2237 w 10000"/>
                      <a:gd name="connsiteY21" fmla="*/ 10000 h 10000"/>
                      <a:gd name="connsiteX22" fmla="*/ 1932 w 10000"/>
                      <a:gd name="connsiteY22" fmla="*/ 10000 h 10000"/>
                      <a:gd name="connsiteX23" fmla="*/ 1932 w 10000"/>
                      <a:gd name="connsiteY23" fmla="*/ 9326 h 10000"/>
                      <a:gd name="connsiteX24" fmla="*/ 1119 w 10000"/>
                      <a:gd name="connsiteY24" fmla="*/ 9326 h 10000"/>
                      <a:gd name="connsiteX25" fmla="*/ 1119 w 10000"/>
                      <a:gd name="connsiteY25" fmla="*/ 10000 h 10000"/>
                      <a:gd name="connsiteX26" fmla="*/ 0 w 10000"/>
                      <a:gd name="connsiteY26"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780 w 10000"/>
                      <a:gd name="connsiteY4" fmla="*/ 10000 h 10000"/>
                      <a:gd name="connsiteX5" fmla="*/ 6543 w 10000"/>
                      <a:gd name="connsiteY5" fmla="*/ 10000 h 10000"/>
                      <a:gd name="connsiteX6" fmla="*/ 6543 w 10000"/>
                      <a:gd name="connsiteY6" fmla="*/ 6788 h 10000"/>
                      <a:gd name="connsiteX7" fmla="*/ 5627 w 10000"/>
                      <a:gd name="connsiteY7" fmla="*/ 6788 h 10000"/>
                      <a:gd name="connsiteX8" fmla="*/ 5627 w 10000"/>
                      <a:gd name="connsiteY8" fmla="*/ 10000 h 10000"/>
                      <a:gd name="connsiteX9" fmla="*/ 5390 w 10000"/>
                      <a:gd name="connsiteY9" fmla="*/ 10000 h 10000"/>
                      <a:gd name="connsiteX10" fmla="*/ 5390 w 10000"/>
                      <a:gd name="connsiteY10" fmla="*/ 7720 h 10000"/>
                      <a:gd name="connsiteX11" fmla="*/ 4509 w 10000"/>
                      <a:gd name="connsiteY11" fmla="*/ 7720 h 10000"/>
                      <a:gd name="connsiteX12" fmla="*/ 4509 w 10000"/>
                      <a:gd name="connsiteY12" fmla="*/ 10000 h 10000"/>
                      <a:gd name="connsiteX13" fmla="*/ 4237 w 10000"/>
                      <a:gd name="connsiteY13" fmla="*/ 10000 h 10000"/>
                      <a:gd name="connsiteX14" fmla="*/ 4237 w 10000"/>
                      <a:gd name="connsiteY14" fmla="*/ 8394 h 10000"/>
                      <a:gd name="connsiteX15" fmla="*/ 3390 w 10000"/>
                      <a:gd name="connsiteY15" fmla="*/ 8394 h 10000"/>
                      <a:gd name="connsiteX16" fmla="*/ 3390 w 10000"/>
                      <a:gd name="connsiteY16" fmla="*/ 10000 h 10000"/>
                      <a:gd name="connsiteX17" fmla="*/ 3118 w 10000"/>
                      <a:gd name="connsiteY17" fmla="*/ 10000 h 10000"/>
                      <a:gd name="connsiteX18" fmla="*/ 3118 w 10000"/>
                      <a:gd name="connsiteY18" fmla="*/ 8756 h 10000"/>
                      <a:gd name="connsiteX19" fmla="*/ 2237 w 10000"/>
                      <a:gd name="connsiteY19" fmla="*/ 8756 h 10000"/>
                      <a:gd name="connsiteX20" fmla="*/ 2237 w 10000"/>
                      <a:gd name="connsiteY20" fmla="*/ 10000 h 10000"/>
                      <a:gd name="connsiteX21" fmla="*/ 1932 w 10000"/>
                      <a:gd name="connsiteY21" fmla="*/ 10000 h 10000"/>
                      <a:gd name="connsiteX22" fmla="*/ 1932 w 10000"/>
                      <a:gd name="connsiteY22" fmla="*/ 9326 h 10000"/>
                      <a:gd name="connsiteX23" fmla="*/ 1119 w 10000"/>
                      <a:gd name="connsiteY23" fmla="*/ 9326 h 10000"/>
                      <a:gd name="connsiteX24" fmla="*/ 1119 w 10000"/>
                      <a:gd name="connsiteY24" fmla="*/ 10000 h 10000"/>
                      <a:gd name="connsiteX25" fmla="*/ 0 w 10000"/>
                      <a:gd name="connsiteY25"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543 w 10000"/>
                      <a:gd name="connsiteY4" fmla="*/ 10000 h 10000"/>
                      <a:gd name="connsiteX5" fmla="*/ 6543 w 10000"/>
                      <a:gd name="connsiteY5" fmla="*/ 6788 h 10000"/>
                      <a:gd name="connsiteX6" fmla="*/ 5627 w 10000"/>
                      <a:gd name="connsiteY6" fmla="*/ 6788 h 10000"/>
                      <a:gd name="connsiteX7" fmla="*/ 5627 w 10000"/>
                      <a:gd name="connsiteY7" fmla="*/ 10000 h 10000"/>
                      <a:gd name="connsiteX8" fmla="*/ 5390 w 10000"/>
                      <a:gd name="connsiteY8" fmla="*/ 10000 h 10000"/>
                      <a:gd name="connsiteX9" fmla="*/ 5390 w 10000"/>
                      <a:gd name="connsiteY9" fmla="*/ 7720 h 10000"/>
                      <a:gd name="connsiteX10" fmla="*/ 4509 w 10000"/>
                      <a:gd name="connsiteY10" fmla="*/ 7720 h 10000"/>
                      <a:gd name="connsiteX11" fmla="*/ 4509 w 10000"/>
                      <a:gd name="connsiteY11" fmla="*/ 10000 h 10000"/>
                      <a:gd name="connsiteX12" fmla="*/ 4237 w 10000"/>
                      <a:gd name="connsiteY12" fmla="*/ 10000 h 10000"/>
                      <a:gd name="connsiteX13" fmla="*/ 4237 w 10000"/>
                      <a:gd name="connsiteY13" fmla="*/ 8394 h 10000"/>
                      <a:gd name="connsiteX14" fmla="*/ 3390 w 10000"/>
                      <a:gd name="connsiteY14" fmla="*/ 8394 h 10000"/>
                      <a:gd name="connsiteX15" fmla="*/ 3390 w 10000"/>
                      <a:gd name="connsiteY15" fmla="*/ 10000 h 10000"/>
                      <a:gd name="connsiteX16" fmla="*/ 3118 w 10000"/>
                      <a:gd name="connsiteY16" fmla="*/ 10000 h 10000"/>
                      <a:gd name="connsiteX17" fmla="*/ 3118 w 10000"/>
                      <a:gd name="connsiteY17" fmla="*/ 8756 h 10000"/>
                      <a:gd name="connsiteX18" fmla="*/ 2237 w 10000"/>
                      <a:gd name="connsiteY18" fmla="*/ 8756 h 10000"/>
                      <a:gd name="connsiteX19" fmla="*/ 2237 w 10000"/>
                      <a:gd name="connsiteY19" fmla="*/ 10000 h 10000"/>
                      <a:gd name="connsiteX20" fmla="*/ 1932 w 10000"/>
                      <a:gd name="connsiteY20" fmla="*/ 10000 h 10000"/>
                      <a:gd name="connsiteX21" fmla="*/ 1932 w 10000"/>
                      <a:gd name="connsiteY21" fmla="*/ 9326 h 10000"/>
                      <a:gd name="connsiteX22" fmla="*/ 1119 w 10000"/>
                      <a:gd name="connsiteY22" fmla="*/ 9326 h 10000"/>
                      <a:gd name="connsiteX23" fmla="*/ 1119 w 10000"/>
                      <a:gd name="connsiteY23" fmla="*/ 10000 h 10000"/>
                      <a:gd name="connsiteX24" fmla="*/ 0 w 10000"/>
                      <a:gd name="connsiteY24"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6543 w 10000"/>
                      <a:gd name="connsiteY4" fmla="*/ 6788 h 10000"/>
                      <a:gd name="connsiteX5" fmla="*/ 5627 w 10000"/>
                      <a:gd name="connsiteY5" fmla="*/ 6788 h 10000"/>
                      <a:gd name="connsiteX6" fmla="*/ 5627 w 10000"/>
                      <a:gd name="connsiteY6" fmla="*/ 10000 h 10000"/>
                      <a:gd name="connsiteX7" fmla="*/ 5390 w 10000"/>
                      <a:gd name="connsiteY7" fmla="*/ 10000 h 10000"/>
                      <a:gd name="connsiteX8" fmla="*/ 5390 w 10000"/>
                      <a:gd name="connsiteY8" fmla="*/ 7720 h 10000"/>
                      <a:gd name="connsiteX9" fmla="*/ 4509 w 10000"/>
                      <a:gd name="connsiteY9" fmla="*/ 7720 h 10000"/>
                      <a:gd name="connsiteX10" fmla="*/ 4509 w 10000"/>
                      <a:gd name="connsiteY10" fmla="*/ 10000 h 10000"/>
                      <a:gd name="connsiteX11" fmla="*/ 4237 w 10000"/>
                      <a:gd name="connsiteY11" fmla="*/ 10000 h 10000"/>
                      <a:gd name="connsiteX12" fmla="*/ 4237 w 10000"/>
                      <a:gd name="connsiteY12" fmla="*/ 8394 h 10000"/>
                      <a:gd name="connsiteX13" fmla="*/ 3390 w 10000"/>
                      <a:gd name="connsiteY13" fmla="*/ 8394 h 10000"/>
                      <a:gd name="connsiteX14" fmla="*/ 3390 w 10000"/>
                      <a:gd name="connsiteY14" fmla="*/ 10000 h 10000"/>
                      <a:gd name="connsiteX15" fmla="*/ 3118 w 10000"/>
                      <a:gd name="connsiteY15" fmla="*/ 10000 h 10000"/>
                      <a:gd name="connsiteX16" fmla="*/ 3118 w 10000"/>
                      <a:gd name="connsiteY16" fmla="*/ 8756 h 10000"/>
                      <a:gd name="connsiteX17" fmla="*/ 2237 w 10000"/>
                      <a:gd name="connsiteY17" fmla="*/ 8756 h 10000"/>
                      <a:gd name="connsiteX18" fmla="*/ 2237 w 10000"/>
                      <a:gd name="connsiteY18" fmla="*/ 10000 h 10000"/>
                      <a:gd name="connsiteX19" fmla="*/ 1932 w 10000"/>
                      <a:gd name="connsiteY19" fmla="*/ 10000 h 10000"/>
                      <a:gd name="connsiteX20" fmla="*/ 1932 w 10000"/>
                      <a:gd name="connsiteY20" fmla="*/ 9326 h 10000"/>
                      <a:gd name="connsiteX21" fmla="*/ 1119 w 10000"/>
                      <a:gd name="connsiteY21" fmla="*/ 9326 h 10000"/>
                      <a:gd name="connsiteX22" fmla="*/ 1119 w 10000"/>
                      <a:gd name="connsiteY22" fmla="*/ 10000 h 10000"/>
                      <a:gd name="connsiteX23" fmla="*/ 0 w 10000"/>
                      <a:gd name="connsiteY23" fmla="*/ 10000 h 10000"/>
                      <a:gd name="connsiteX0" fmla="*/ 10000 w 10000"/>
                      <a:gd name="connsiteY0" fmla="*/ 0 h 10000"/>
                      <a:gd name="connsiteX1" fmla="*/ 9086 w 10000"/>
                      <a:gd name="connsiteY1" fmla="*/ 0 h 10000"/>
                      <a:gd name="connsiteX2" fmla="*/ 8848 w 10000"/>
                      <a:gd name="connsiteY2" fmla="*/ 2383 h 10000"/>
                      <a:gd name="connsiteX3" fmla="*/ 7967 w 10000"/>
                      <a:gd name="connsiteY3" fmla="*/ 2383 h 10000"/>
                      <a:gd name="connsiteX4" fmla="*/ 5627 w 10000"/>
                      <a:gd name="connsiteY4" fmla="*/ 6788 h 10000"/>
                      <a:gd name="connsiteX5" fmla="*/ 5627 w 10000"/>
                      <a:gd name="connsiteY5" fmla="*/ 10000 h 10000"/>
                      <a:gd name="connsiteX6" fmla="*/ 5390 w 10000"/>
                      <a:gd name="connsiteY6" fmla="*/ 10000 h 10000"/>
                      <a:gd name="connsiteX7" fmla="*/ 5390 w 10000"/>
                      <a:gd name="connsiteY7" fmla="*/ 7720 h 10000"/>
                      <a:gd name="connsiteX8" fmla="*/ 4509 w 10000"/>
                      <a:gd name="connsiteY8" fmla="*/ 7720 h 10000"/>
                      <a:gd name="connsiteX9" fmla="*/ 4509 w 10000"/>
                      <a:gd name="connsiteY9" fmla="*/ 10000 h 10000"/>
                      <a:gd name="connsiteX10" fmla="*/ 4237 w 10000"/>
                      <a:gd name="connsiteY10" fmla="*/ 10000 h 10000"/>
                      <a:gd name="connsiteX11" fmla="*/ 4237 w 10000"/>
                      <a:gd name="connsiteY11" fmla="*/ 8394 h 10000"/>
                      <a:gd name="connsiteX12" fmla="*/ 3390 w 10000"/>
                      <a:gd name="connsiteY12" fmla="*/ 8394 h 10000"/>
                      <a:gd name="connsiteX13" fmla="*/ 3390 w 10000"/>
                      <a:gd name="connsiteY13" fmla="*/ 10000 h 10000"/>
                      <a:gd name="connsiteX14" fmla="*/ 3118 w 10000"/>
                      <a:gd name="connsiteY14" fmla="*/ 10000 h 10000"/>
                      <a:gd name="connsiteX15" fmla="*/ 3118 w 10000"/>
                      <a:gd name="connsiteY15" fmla="*/ 8756 h 10000"/>
                      <a:gd name="connsiteX16" fmla="*/ 2237 w 10000"/>
                      <a:gd name="connsiteY16" fmla="*/ 8756 h 10000"/>
                      <a:gd name="connsiteX17" fmla="*/ 2237 w 10000"/>
                      <a:gd name="connsiteY17" fmla="*/ 10000 h 10000"/>
                      <a:gd name="connsiteX18" fmla="*/ 1932 w 10000"/>
                      <a:gd name="connsiteY18" fmla="*/ 10000 h 10000"/>
                      <a:gd name="connsiteX19" fmla="*/ 1932 w 10000"/>
                      <a:gd name="connsiteY19" fmla="*/ 9326 h 10000"/>
                      <a:gd name="connsiteX20" fmla="*/ 1119 w 10000"/>
                      <a:gd name="connsiteY20" fmla="*/ 9326 h 10000"/>
                      <a:gd name="connsiteX21" fmla="*/ 1119 w 10000"/>
                      <a:gd name="connsiteY21" fmla="*/ 10000 h 10000"/>
                      <a:gd name="connsiteX22" fmla="*/ 0 w 10000"/>
                      <a:gd name="connsiteY22" fmla="*/ 10000 h 10000"/>
                      <a:gd name="connsiteX0" fmla="*/ 9086 w 9086"/>
                      <a:gd name="connsiteY0" fmla="*/ 0 h 10000"/>
                      <a:gd name="connsiteX1" fmla="*/ 8848 w 9086"/>
                      <a:gd name="connsiteY1" fmla="*/ 2383 h 10000"/>
                      <a:gd name="connsiteX2" fmla="*/ 7967 w 9086"/>
                      <a:gd name="connsiteY2" fmla="*/ 2383 h 10000"/>
                      <a:gd name="connsiteX3" fmla="*/ 5627 w 9086"/>
                      <a:gd name="connsiteY3" fmla="*/ 6788 h 10000"/>
                      <a:gd name="connsiteX4" fmla="*/ 5627 w 9086"/>
                      <a:gd name="connsiteY4" fmla="*/ 10000 h 10000"/>
                      <a:gd name="connsiteX5" fmla="*/ 5390 w 9086"/>
                      <a:gd name="connsiteY5" fmla="*/ 10000 h 10000"/>
                      <a:gd name="connsiteX6" fmla="*/ 5390 w 9086"/>
                      <a:gd name="connsiteY6" fmla="*/ 7720 h 10000"/>
                      <a:gd name="connsiteX7" fmla="*/ 4509 w 9086"/>
                      <a:gd name="connsiteY7" fmla="*/ 7720 h 10000"/>
                      <a:gd name="connsiteX8" fmla="*/ 4509 w 9086"/>
                      <a:gd name="connsiteY8" fmla="*/ 10000 h 10000"/>
                      <a:gd name="connsiteX9" fmla="*/ 4237 w 9086"/>
                      <a:gd name="connsiteY9" fmla="*/ 10000 h 10000"/>
                      <a:gd name="connsiteX10" fmla="*/ 4237 w 9086"/>
                      <a:gd name="connsiteY10" fmla="*/ 8394 h 10000"/>
                      <a:gd name="connsiteX11" fmla="*/ 3390 w 9086"/>
                      <a:gd name="connsiteY11" fmla="*/ 8394 h 10000"/>
                      <a:gd name="connsiteX12" fmla="*/ 3390 w 9086"/>
                      <a:gd name="connsiteY12" fmla="*/ 10000 h 10000"/>
                      <a:gd name="connsiteX13" fmla="*/ 3118 w 9086"/>
                      <a:gd name="connsiteY13" fmla="*/ 10000 h 10000"/>
                      <a:gd name="connsiteX14" fmla="*/ 3118 w 9086"/>
                      <a:gd name="connsiteY14" fmla="*/ 8756 h 10000"/>
                      <a:gd name="connsiteX15" fmla="*/ 2237 w 9086"/>
                      <a:gd name="connsiteY15" fmla="*/ 8756 h 10000"/>
                      <a:gd name="connsiteX16" fmla="*/ 2237 w 9086"/>
                      <a:gd name="connsiteY16" fmla="*/ 10000 h 10000"/>
                      <a:gd name="connsiteX17" fmla="*/ 1932 w 9086"/>
                      <a:gd name="connsiteY17" fmla="*/ 10000 h 10000"/>
                      <a:gd name="connsiteX18" fmla="*/ 1932 w 9086"/>
                      <a:gd name="connsiteY18" fmla="*/ 9326 h 10000"/>
                      <a:gd name="connsiteX19" fmla="*/ 1119 w 9086"/>
                      <a:gd name="connsiteY19" fmla="*/ 9326 h 10000"/>
                      <a:gd name="connsiteX20" fmla="*/ 1119 w 9086"/>
                      <a:gd name="connsiteY20" fmla="*/ 10000 h 10000"/>
                      <a:gd name="connsiteX21" fmla="*/ 0 w 9086"/>
                      <a:gd name="connsiteY21" fmla="*/ 10000 h 10000"/>
                      <a:gd name="connsiteX0" fmla="*/ 9738 w 9738"/>
                      <a:gd name="connsiteY0" fmla="*/ 0 h 7617"/>
                      <a:gd name="connsiteX1" fmla="*/ 8768 w 9738"/>
                      <a:gd name="connsiteY1" fmla="*/ 0 h 7617"/>
                      <a:gd name="connsiteX2" fmla="*/ 6193 w 9738"/>
                      <a:gd name="connsiteY2" fmla="*/ 4405 h 7617"/>
                      <a:gd name="connsiteX3" fmla="*/ 6193 w 9738"/>
                      <a:gd name="connsiteY3" fmla="*/ 7617 h 7617"/>
                      <a:gd name="connsiteX4" fmla="*/ 5932 w 9738"/>
                      <a:gd name="connsiteY4" fmla="*/ 7617 h 7617"/>
                      <a:gd name="connsiteX5" fmla="*/ 5932 w 9738"/>
                      <a:gd name="connsiteY5" fmla="*/ 5337 h 7617"/>
                      <a:gd name="connsiteX6" fmla="*/ 4963 w 9738"/>
                      <a:gd name="connsiteY6" fmla="*/ 5337 h 7617"/>
                      <a:gd name="connsiteX7" fmla="*/ 4963 w 9738"/>
                      <a:gd name="connsiteY7" fmla="*/ 7617 h 7617"/>
                      <a:gd name="connsiteX8" fmla="*/ 4663 w 9738"/>
                      <a:gd name="connsiteY8" fmla="*/ 7617 h 7617"/>
                      <a:gd name="connsiteX9" fmla="*/ 4663 w 9738"/>
                      <a:gd name="connsiteY9" fmla="*/ 6011 h 7617"/>
                      <a:gd name="connsiteX10" fmla="*/ 3731 w 9738"/>
                      <a:gd name="connsiteY10" fmla="*/ 6011 h 7617"/>
                      <a:gd name="connsiteX11" fmla="*/ 3731 w 9738"/>
                      <a:gd name="connsiteY11" fmla="*/ 7617 h 7617"/>
                      <a:gd name="connsiteX12" fmla="*/ 3432 w 9738"/>
                      <a:gd name="connsiteY12" fmla="*/ 7617 h 7617"/>
                      <a:gd name="connsiteX13" fmla="*/ 3432 w 9738"/>
                      <a:gd name="connsiteY13" fmla="*/ 6373 h 7617"/>
                      <a:gd name="connsiteX14" fmla="*/ 2462 w 9738"/>
                      <a:gd name="connsiteY14" fmla="*/ 6373 h 7617"/>
                      <a:gd name="connsiteX15" fmla="*/ 2462 w 9738"/>
                      <a:gd name="connsiteY15" fmla="*/ 7617 h 7617"/>
                      <a:gd name="connsiteX16" fmla="*/ 2126 w 9738"/>
                      <a:gd name="connsiteY16" fmla="*/ 7617 h 7617"/>
                      <a:gd name="connsiteX17" fmla="*/ 2126 w 9738"/>
                      <a:gd name="connsiteY17" fmla="*/ 6943 h 7617"/>
                      <a:gd name="connsiteX18" fmla="*/ 1232 w 9738"/>
                      <a:gd name="connsiteY18" fmla="*/ 6943 h 7617"/>
                      <a:gd name="connsiteX19" fmla="*/ 1232 w 9738"/>
                      <a:gd name="connsiteY19" fmla="*/ 7617 h 7617"/>
                      <a:gd name="connsiteX20" fmla="*/ 0 w 9738"/>
                      <a:gd name="connsiteY20" fmla="*/ 7617 h 7617"/>
                      <a:gd name="connsiteX0" fmla="*/ 9004 w 9004"/>
                      <a:gd name="connsiteY0" fmla="*/ 0 h 10000"/>
                      <a:gd name="connsiteX1" fmla="*/ 6360 w 9004"/>
                      <a:gd name="connsiteY1" fmla="*/ 5783 h 10000"/>
                      <a:gd name="connsiteX2" fmla="*/ 6360 w 9004"/>
                      <a:gd name="connsiteY2" fmla="*/ 10000 h 10000"/>
                      <a:gd name="connsiteX3" fmla="*/ 6092 w 9004"/>
                      <a:gd name="connsiteY3" fmla="*/ 10000 h 10000"/>
                      <a:gd name="connsiteX4" fmla="*/ 6092 w 9004"/>
                      <a:gd name="connsiteY4" fmla="*/ 7007 h 10000"/>
                      <a:gd name="connsiteX5" fmla="*/ 5097 w 9004"/>
                      <a:gd name="connsiteY5" fmla="*/ 7007 h 10000"/>
                      <a:gd name="connsiteX6" fmla="*/ 5097 w 9004"/>
                      <a:gd name="connsiteY6" fmla="*/ 10000 h 10000"/>
                      <a:gd name="connsiteX7" fmla="*/ 4788 w 9004"/>
                      <a:gd name="connsiteY7" fmla="*/ 10000 h 10000"/>
                      <a:gd name="connsiteX8" fmla="*/ 4788 w 9004"/>
                      <a:gd name="connsiteY8" fmla="*/ 7892 h 10000"/>
                      <a:gd name="connsiteX9" fmla="*/ 3831 w 9004"/>
                      <a:gd name="connsiteY9" fmla="*/ 7892 h 10000"/>
                      <a:gd name="connsiteX10" fmla="*/ 3831 w 9004"/>
                      <a:gd name="connsiteY10" fmla="*/ 10000 h 10000"/>
                      <a:gd name="connsiteX11" fmla="*/ 3524 w 9004"/>
                      <a:gd name="connsiteY11" fmla="*/ 10000 h 10000"/>
                      <a:gd name="connsiteX12" fmla="*/ 3524 w 9004"/>
                      <a:gd name="connsiteY12" fmla="*/ 8367 h 10000"/>
                      <a:gd name="connsiteX13" fmla="*/ 2528 w 9004"/>
                      <a:gd name="connsiteY13" fmla="*/ 8367 h 10000"/>
                      <a:gd name="connsiteX14" fmla="*/ 2528 w 9004"/>
                      <a:gd name="connsiteY14" fmla="*/ 10000 h 10000"/>
                      <a:gd name="connsiteX15" fmla="*/ 2183 w 9004"/>
                      <a:gd name="connsiteY15" fmla="*/ 10000 h 10000"/>
                      <a:gd name="connsiteX16" fmla="*/ 2183 w 9004"/>
                      <a:gd name="connsiteY16" fmla="*/ 9115 h 10000"/>
                      <a:gd name="connsiteX17" fmla="*/ 1265 w 9004"/>
                      <a:gd name="connsiteY17" fmla="*/ 9115 h 10000"/>
                      <a:gd name="connsiteX18" fmla="*/ 1265 w 9004"/>
                      <a:gd name="connsiteY18" fmla="*/ 10000 h 10000"/>
                      <a:gd name="connsiteX19" fmla="*/ 0 w 9004"/>
                      <a:gd name="connsiteY19" fmla="*/ 10000 h 10000"/>
                      <a:gd name="connsiteX0" fmla="*/ 7064 w 7064"/>
                      <a:gd name="connsiteY0" fmla="*/ 0 h 4217"/>
                      <a:gd name="connsiteX1" fmla="*/ 7064 w 7064"/>
                      <a:gd name="connsiteY1" fmla="*/ 4217 h 4217"/>
                      <a:gd name="connsiteX2" fmla="*/ 6766 w 7064"/>
                      <a:gd name="connsiteY2" fmla="*/ 4217 h 4217"/>
                      <a:gd name="connsiteX3" fmla="*/ 6766 w 7064"/>
                      <a:gd name="connsiteY3" fmla="*/ 1224 h 4217"/>
                      <a:gd name="connsiteX4" fmla="*/ 5661 w 7064"/>
                      <a:gd name="connsiteY4" fmla="*/ 1224 h 4217"/>
                      <a:gd name="connsiteX5" fmla="*/ 5661 w 7064"/>
                      <a:gd name="connsiteY5" fmla="*/ 4217 h 4217"/>
                      <a:gd name="connsiteX6" fmla="*/ 5318 w 7064"/>
                      <a:gd name="connsiteY6" fmla="*/ 4217 h 4217"/>
                      <a:gd name="connsiteX7" fmla="*/ 5318 w 7064"/>
                      <a:gd name="connsiteY7" fmla="*/ 2109 h 4217"/>
                      <a:gd name="connsiteX8" fmla="*/ 4255 w 7064"/>
                      <a:gd name="connsiteY8" fmla="*/ 2109 h 4217"/>
                      <a:gd name="connsiteX9" fmla="*/ 4255 w 7064"/>
                      <a:gd name="connsiteY9" fmla="*/ 4217 h 4217"/>
                      <a:gd name="connsiteX10" fmla="*/ 3914 w 7064"/>
                      <a:gd name="connsiteY10" fmla="*/ 4217 h 4217"/>
                      <a:gd name="connsiteX11" fmla="*/ 3914 w 7064"/>
                      <a:gd name="connsiteY11" fmla="*/ 2584 h 4217"/>
                      <a:gd name="connsiteX12" fmla="*/ 2808 w 7064"/>
                      <a:gd name="connsiteY12" fmla="*/ 2584 h 4217"/>
                      <a:gd name="connsiteX13" fmla="*/ 2808 w 7064"/>
                      <a:gd name="connsiteY13" fmla="*/ 4217 h 4217"/>
                      <a:gd name="connsiteX14" fmla="*/ 2424 w 7064"/>
                      <a:gd name="connsiteY14" fmla="*/ 4217 h 4217"/>
                      <a:gd name="connsiteX15" fmla="*/ 2424 w 7064"/>
                      <a:gd name="connsiteY15" fmla="*/ 3332 h 4217"/>
                      <a:gd name="connsiteX16" fmla="*/ 1405 w 7064"/>
                      <a:gd name="connsiteY16" fmla="*/ 3332 h 4217"/>
                      <a:gd name="connsiteX17" fmla="*/ 1405 w 7064"/>
                      <a:gd name="connsiteY17" fmla="*/ 4217 h 4217"/>
                      <a:gd name="connsiteX18" fmla="*/ 0 w 7064"/>
                      <a:gd name="connsiteY18" fmla="*/ 4217 h 4217"/>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8014 w 10000"/>
                      <a:gd name="connsiteY4" fmla="*/ 10000 h 10000"/>
                      <a:gd name="connsiteX5" fmla="*/ 7528 w 10000"/>
                      <a:gd name="connsiteY5" fmla="*/ 10000 h 10000"/>
                      <a:gd name="connsiteX6" fmla="*/ 7528 w 10000"/>
                      <a:gd name="connsiteY6" fmla="*/ 5001 h 10000"/>
                      <a:gd name="connsiteX7" fmla="*/ 6023 w 10000"/>
                      <a:gd name="connsiteY7" fmla="*/ 5001 h 10000"/>
                      <a:gd name="connsiteX8" fmla="*/ 6023 w 10000"/>
                      <a:gd name="connsiteY8" fmla="*/ 10000 h 10000"/>
                      <a:gd name="connsiteX9" fmla="*/ 5541 w 10000"/>
                      <a:gd name="connsiteY9" fmla="*/ 10000 h 10000"/>
                      <a:gd name="connsiteX10" fmla="*/ 5541 w 10000"/>
                      <a:gd name="connsiteY10" fmla="*/ 6128 h 10000"/>
                      <a:gd name="connsiteX11" fmla="*/ 3975 w 10000"/>
                      <a:gd name="connsiteY11" fmla="*/ 6128 h 10000"/>
                      <a:gd name="connsiteX12" fmla="*/ 3975 w 10000"/>
                      <a:gd name="connsiteY12" fmla="*/ 10000 h 10000"/>
                      <a:gd name="connsiteX13" fmla="*/ 3431 w 10000"/>
                      <a:gd name="connsiteY13" fmla="*/ 10000 h 10000"/>
                      <a:gd name="connsiteX14" fmla="*/ 3431 w 10000"/>
                      <a:gd name="connsiteY14" fmla="*/ 7901 h 10000"/>
                      <a:gd name="connsiteX15" fmla="*/ 1989 w 10000"/>
                      <a:gd name="connsiteY15" fmla="*/ 7901 h 10000"/>
                      <a:gd name="connsiteX16" fmla="*/ 1989 w 10000"/>
                      <a:gd name="connsiteY16" fmla="*/ 10000 h 10000"/>
                      <a:gd name="connsiteX17" fmla="*/ 0 w 10000"/>
                      <a:gd name="connsiteY17"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7528 w 10000"/>
                      <a:gd name="connsiteY4" fmla="*/ 10000 h 10000"/>
                      <a:gd name="connsiteX5" fmla="*/ 7528 w 10000"/>
                      <a:gd name="connsiteY5" fmla="*/ 5001 h 10000"/>
                      <a:gd name="connsiteX6" fmla="*/ 6023 w 10000"/>
                      <a:gd name="connsiteY6" fmla="*/ 5001 h 10000"/>
                      <a:gd name="connsiteX7" fmla="*/ 6023 w 10000"/>
                      <a:gd name="connsiteY7" fmla="*/ 10000 h 10000"/>
                      <a:gd name="connsiteX8" fmla="*/ 5541 w 10000"/>
                      <a:gd name="connsiteY8" fmla="*/ 10000 h 10000"/>
                      <a:gd name="connsiteX9" fmla="*/ 5541 w 10000"/>
                      <a:gd name="connsiteY9" fmla="*/ 6128 h 10000"/>
                      <a:gd name="connsiteX10" fmla="*/ 3975 w 10000"/>
                      <a:gd name="connsiteY10" fmla="*/ 6128 h 10000"/>
                      <a:gd name="connsiteX11" fmla="*/ 3975 w 10000"/>
                      <a:gd name="connsiteY11" fmla="*/ 10000 h 10000"/>
                      <a:gd name="connsiteX12" fmla="*/ 3431 w 10000"/>
                      <a:gd name="connsiteY12" fmla="*/ 10000 h 10000"/>
                      <a:gd name="connsiteX13" fmla="*/ 3431 w 10000"/>
                      <a:gd name="connsiteY13" fmla="*/ 7901 h 10000"/>
                      <a:gd name="connsiteX14" fmla="*/ 1989 w 10000"/>
                      <a:gd name="connsiteY14" fmla="*/ 7901 h 10000"/>
                      <a:gd name="connsiteX15" fmla="*/ 1989 w 10000"/>
                      <a:gd name="connsiteY15" fmla="*/ 10000 h 10000"/>
                      <a:gd name="connsiteX16" fmla="*/ 0 w 10000"/>
                      <a:gd name="connsiteY16"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7528 w 10000"/>
                      <a:gd name="connsiteY4" fmla="*/ 5001 h 10000"/>
                      <a:gd name="connsiteX5" fmla="*/ 6023 w 10000"/>
                      <a:gd name="connsiteY5" fmla="*/ 5001 h 10000"/>
                      <a:gd name="connsiteX6" fmla="*/ 6023 w 10000"/>
                      <a:gd name="connsiteY6" fmla="*/ 10000 h 10000"/>
                      <a:gd name="connsiteX7" fmla="*/ 5541 w 10000"/>
                      <a:gd name="connsiteY7" fmla="*/ 10000 h 10000"/>
                      <a:gd name="connsiteX8" fmla="*/ 5541 w 10000"/>
                      <a:gd name="connsiteY8" fmla="*/ 6128 h 10000"/>
                      <a:gd name="connsiteX9" fmla="*/ 3975 w 10000"/>
                      <a:gd name="connsiteY9" fmla="*/ 6128 h 10000"/>
                      <a:gd name="connsiteX10" fmla="*/ 3975 w 10000"/>
                      <a:gd name="connsiteY10" fmla="*/ 10000 h 10000"/>
                      <a:gd name="connsiteX11" fmla="*/ 3431 w 10000"/>
                      <a:gd name="connsiteY11" fmla="*/ 10000 h 10000"/>
                      <a:gd name="connsiteX12" fmla="*/ 3431 w 10000"/>
                      <a:gd name="connsiteY12" fmla="*/ 7901 h 10000"/>
                      <a:gd name="connsiteX13" fmla="*/ 1989 w 10000"/>
                      <a:gd name="connsiteY13" fmla="*/ 7901 h 10000"/>
                      <a:gd name="connsiteX14" fmla="*/ 1989 w 10000"/>
                      <a:gd name="connsiteY14" fmla="*/ 10000 h 10000"/>
                      <a:gd name="connsiteX15" fmla="*/ 0 w 10000"/>
                      <a:gd name="connsiteY15"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6023 w 10000"/>
                      <a:gd name="connsiteY4" fmla="*/ 5001 h 10000"/>
                      <a:gd name="connsiteX5" fmla="*/ 6023 w 10000"/>
                      <a:gd name="connsiteY5" fmla="*/ 10000 h 10000"/>
                      <a:gd name="connsiteX6" fmla="*/ 5541 w 10000"/>
                      <a:gd name="connsiteY6" fmla="*/ 10000 h 10000"/>
                      <a:gd name="connsiteX7" fmla="*/ 5541 w 10000"/>
                      <a:gd name="connsiteY7" fmla="*/ 6128 h 10000"/>
                      <a:gd name="connsiteX8" fmla="*/ 3975 w 10000"/>
                      <a:gd name="connsiteY8" fmla="*/ 6128 h 10000"/>
                      <a:gd name="connsiteX9" fmla="*/ 3975 w 10000"/>
                      <a:gd name="connsiteY9" fmla="*/ 10000 h 10000"/>
                      <a:gd name="connsiteX10" fmla="*/ 3431 w 10000"/>
                      <a:gd name="connsiteY10" fmla="*/ 10000 h 10000"/>
                      <a:gd name="connsiteX11" fmla="*/ 3431 w 10000"/>
                      <a:gd name="connsiteY11" fmla="*/ 7901 h 10000"/>
                      <a:gd name="connsiteX12" fmla="*/ 1989 w 10000"/>
                      <a:gd name="connsiteY12" fmla="*/ 7901 h 10000"/>
                      <a:gd name="connsiteX13" fmla="*/ 1989 w 10000"/>
                      <a:gd name="connsiteY13" fmla="*/ 10000 h 10000"/>
                      <a:gd name="connsiteX14" fmla="*/ 0 w 10000"/>
                      <a:gd name="connsiteY14"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6023 w 10000"/>
                      <a:gd name="connsiteY4" fmla="*/ 10000 h 10000"/>
                      <a:gd name="connsiteX5" fmla="*/ 5541 w 10000"/>
                      <a:gd name="connsiteY5" fmla="*/ 10000 h 10000"/>
                      <a:gd name="connsiteX6" fmla="*/ 5541 w 10000"/>
                      <a:gd name="connsiteY6" fmla="*/ 6128 h 10000"/>
                      <a:gd name="connsiteX7" fmla="*/ 3975 w 10000"/>
                      <a:gd name="connsiteY7" fmla="*/ 6128 h 10000"/>
                      <a:gd name="connsiteX8" fmla="*/ 3975 w 10000"/>
                      <a:gd name="connsiteY8" fmla="*/ 10000 h 10000"/>
                      <a:gd name="connsiteX9" fmla="*/ 3431 w 10000"/>
                      <a:gd name="connsiteY9" fmla="*/ 10000 h 10000"/>
                      <a:gd name="connsiteX10" fmla="*/ 3431 w 10000"/>
                      <a:gd name="connsiteY10" fmla="*/ 7901 h 10000"/>
                      <a:gd name="connsiteX11" fmla="*/ 1989 w 10000"/>
                      <a:gd name="connsiteY11" fmla="*/ 7901 h 10000"/>
                      <a:gd name="connsiteX12" fmla="*/ 1989 w 10000"/>
                      <a:gd name="connsiteY12" fmla="*/ 10000 h 10000"/>
                      <a:gd name="connsiteX13" fmla="*/ 0 w 10000"/>
                      <a:gd name="connsiteY13"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5541 w 10000"/>
                      <a:gd name="connsiteY4" fmla="*/ 10000 h 10000"/>
                      <a:gd name="connsiteX5" fmla="*/ 5541 w 10000"/>
                      <a:gd name="connsiteY5" fmla="*/ 6128 h 10000"/>
                      <a:gd name="connsiteX6" fmla="*/ 3975 w 10000"/>
                      <a:gd name="connsiteY6" fmla="*/ 6128 h 10000"/>
                      <a:gd name="connsiteX7" fmla="*/ 3975 w 10000"/>
                      <a:gd name="connsiteY7" fmla="*/ 10000 h 10000"/>
                      <a:gd name="connsiteX8" fmla="*/ 3431 w 10000"/>
                      <a:gd name="connsiteY8" fmla="*/ 10000 h 10000"/>
                      <a:gd name="connsiteX9" fmla="*/ 3431 w 10000"/>
                      <a:gd name="connsiteY9" fmla="*/ 7901 h 10000"/>
                      <a:gd name="connsiteX10" fmla="*/ 1989 w 10000"/>
                      <a:gd name="connsiteY10" fmla="*/ 7901 h 10000"/>
                      <a:gd name="connsiteX11" fmla="*/ 1989 w 10000"/>
                      <a:gd name="connsiteY11" fmla="*/ 10000 h 10000"/>
                      <a:gd name="connsiteX12" fmla="*/ 0 w 10000"/>
                      <a:gd name="connsiteY12" fmla="*/ 10000 h 10000"/>
                      <a:gd name="connsiteX0" fmla="*/ 10000 w 10000"/>
                      <a:gd name="connsiteY0" fmla="*/ 0 h 10000"/>
                      <a:gd name="connsiteX1" fmla="*/ 10000 w 10000"/>
                      <a:gd name="connsiteY1" fmla="*/ 10000 h 10000"/>
                      <a:gd name="connsiteX2" fmla="*/ 9578 w 10000"/>
                      <a:gd name="connsiteY2" fmla="*/ 2903 h 10000"/>
                      <a:gd name="connsiteX3" fmla="*/ 8014 w 10000"/>
                      <a:gd name="connsiteY3" fmla="*/ 2903 h 10000"/>
                      <a:gd name="connsiteX4" fmla="*/ 5541 w 10000"/>
                      <a:gd name="connsiteY4" fmla="*/ 6128 h 10000"/>
                      <a:gd name="connsiteX5" fmla="*/ 3975 w 10000"/>
                      <a:gd name="connsiteY5" fmla="*/ 6128 h 10000"/>
                      <a:gd name="connsiteX6" fmla="*/ 3975 w 10000"/>
                      <a:gd name="connsiteY6" fmla="*/ 10000 h 10000"/>
                      <a:gd name="connsiteX7" fmla="*/ 3431 w 10000"/>
                      <a:gd name="connsiteY7" fmla="*/ 10000 h 10000"/>
                      <a:gd name="connsiteX8" fmla="*/ 3431 w 10000"/>
                      <a:gd name="connsiteY8" fmla="*/ 7901 h 10000"/>
                      <a:gd name="connsiteX9" fmla="*/ 1989 w 10000"/>
                      <a:gd name="connsiteY9" fmla="*/ 7901 h 10000"/>
                      <a:gd name="connsiteX10" fmla="*/ 1989 w 10000"/>
                      <a:gd name="connsiteY10" fmla="*/ 10000 h 10000"/>
                      <a:gd name="connsiteX11" fmla="*/ 0 w 10000"/>
                      <a:gd name="connsiteY11" fmla="*/ 10000 h 10000"/>
                      <a:gd name="connsiteX0" fmla="*/ 10000 w 10000"/>
                      <a:gd name="connsiteY0" fmla="*/ 0 h 10024"/>
                      <a:gd name="connsiteX1" fmla="*/ 10000 w 10000"/>
                      <a:gd name="connsiteY1" fmla="*/ 10000 h 10024"/>
                      <a:gd name="connsiteX2" fmla="*/ 8014 w 10000"/>
                      <a:gd name="connsiteY2" fmla="*/ 2903 h 10024"/>
                      <a:gd name="connsiteX3" fmla="*/ 5541 w 10000"/>
                      <a:gd name="connsiteY3" fmla="*/ 6128 h 10024"/>
                      <a:gd name="connsiteX4" fmla="*/ 3975 w 10000"/>
                      <a:gd name="connsiteY4" fmla="*/ 6128 h 10024"/>
                      <a:gd name="connsiteX5" fmla="*/ 3975 w 10000"/>
                      <a:gd name="connsiteY5" fmla="*/ 10000 h 10024"/>
                      <a:gd name="connsiteX6" fmla="*/ 3431 w 10000"/>
                      <a:gd name="connsiteY6" fmla="*/ 10000 h 10024"/>
                      <a:gd name="connsiteX7" fmla="*/ 3431 w 10000"/>
                      <a:gd name="connsiteY7" fmla="*/ 7901 h 10024"/>
                      <a:gd name="connsiteX8" fmla="*/ 1989 w 10000"/>
                      <a:gd name="connsiteY8" fmla="*/ 7901 h 10024"/>
                      <a:gd name="connsiteX9" fmla="*/ 1989 w 10000"/>
                      <a:gd name="connsiteY9" fmla="*/ 10000 h 10024"/>
                      <a:gd name="connsiteX10" fmla="*/ 0 w 10000"/>
                      <a:gd name="connsiteY10" fmla="*/ 10000 h 10024"/>
                      <a:gd name="connsiteX0" fmla="*/ 10000 w 10000"/>
                      <a:gd name="connsiteY0" fmla="*/ 7097 h 7121"/>
                      <a:gd name="connsiteX1" fmla="*/ 8014 w 10000"/>
                      <a:gd name="connsiteY1" fmla="*/ 0 h 7121"/>
                      <a:gd name="connsiteX2" fmla="*/ 5541 w 10000"/>
                      <a:gd name="connsiteY2" fmla="*/ 3225 h 7121"/>
                      <a:gd name="connsiteX3" fmla="*/ 3975 w 10000"/>
                      <a:gd name="connsiteY3" fmla="*/ 3225 h 7121"/>
                      <a:gd name="connsiteX4" fmla="*/ 3975 w 10000"/>
                      <a:gd name="connsiteY4" fmla="*/ 7097 h 7121"/>
                      <a:gd name="connsiteX5" fmla="*/ 3431 w 10000"/>
                      <a:gd name="connsiteY5" fmla="*/ 7097 h 7121"/>
                      <a:gd name="connsiteX6" fmla="*/ 3431 w 10000"/>
                      <a:gd name="connsiteY6" fmla="*/ 4998 h 7121"/>
                      <a:gd name="connsiteX7" fmla="*/ 1989 w 10000"/>
                      <a:gd name="connsiteY7" fmla="*/ 4998 h 7121"/>
                      <a:gd name="connsiteX8" fmla="*/ 1989 w 10000"/>
                      <a:gd name="connsiteY8" fmla="*/ 7097 h 7121"/>
                      <a:gd name="connsiteX9" fmla="*/ 0 w 10000"/>
                      <a:gd name="connsiteY9" fmla="*/ 7097 h 7121"/>
                      <a:gd name="connsiteX0" fmla="*/ 8014 w 8014"/>
                      <a:gd name="connsiteY0" fmla="*/ 0 h 9966"/>
                      <a:gd name="connsiteX1" fmla="*/ 5541 w 8014"/>
                      <a:gd name="connsiteY1" fmla="*/ 4529 h 9966"/>
                      <a:gd name="connsiteX2" fmla="*/ 3975 w 8014"/>
                      <a:gd name="connsiteY2" fmla="*/ 4529 h 9966"/>
                      <a:gd name="connsiteX3" fmla="*/ 3975 w 8014"/>
                      <a:gd name="connsiteY3" fmla="*/ 9966 h 9966"/>
                      <a:gd name="connsiteX4" fmla="*/ 3431 w 8014"/>
                      <a:gd name="connsiteY4" fmla="*/ 9966 h 9966"/>
                      <a:gd name="connsiteX5" fmla="*/ 3431 w 8014"/>
                      <a:gd name="connsiteY5" fmla="*/ 7019 h 9966"/>
                      <a:gd name="connsiteX6" fmla="*/ 1989 w 8014"/>
                      <a:gd name="connsiteY6" fmla="*/ 7019 h 9966"/>
                      <a:gd name="connsiteX7" fmla="*/ 1989 w 8014"/>
                      <a:gd name="connsiteY7" fmla="*/ 9966 h 9966"/>
                      <a:gd name="connsiteX8" fmla="*/ 0 w 8014"/>
                      <a:gd name="connsiteY8" fmla="*/ 9966 h 9966"/>
                      <a:gd name="connsiteX0" fmla="*/ 6914 w 6914"/>
                      <a:gd name="connsiteY0" fmla="*/ 0 h 5456"/>
                      <a:gd name="connsiteX1" fmla="*/ 4960 w 6914"/>
                      <a:gd name="connsiteY1" fmla="*/ 0 h 5456"/>
                      <a:gd name="connsiteX2" fmla="*/ 4960 w 6914"/>
                      <a:gd name="connsiteY2" fmla="*/ 5456 h 5456"/>
                      <a:gd name="connsiteX3" fmla="*/ 4281 w 6914"/>
                      <a:gd name="connsiteY3" fmla="*/ 5456 h 5456"/>
                      <a:gd name="connsiteX4" fmla="*/ 4281 w 6914"/>
                      <a:gd name="connsiteY4" fmla="*/ 2499 h 5456"/>
                      <a:gd name="connsiteX5" fmla="*/ 2482 w 6914"/>
                      <a:gd name="connsiteY5" fmla="*/ 2499 h 5456"/>
                      <a:gd name="connsiteX6" fmla="*/ 2482 w 6914"/>
                      <a:gd name="connsiteY6" fmla="*/ 5456 h 5456"/>
                      <a:gd name="connsiteX7" fmla="*/ 0 w 6914"/>
                      <a:gd name="connsiteY7" fmla="*/ 5456 h 5456"/>
                      <a:gd name="connsiteX0" fmla="*/ 10000 w 10000"/>
                      <a:gd name="connsiteY0" fmla="*/ 26 h 10026"/>
                      <a:gd name="connsiteX1" fmla="*/ 8648 w 10000"/>
                      <a:gd name="connsiteY1" fmla="*/ 0 h 10026"/>
                      <a:gd name="connsiteX2" fmla="*/ 7174 w 10000"/>
                      <a:gd name="connsiteY2" fmla="*/ 26 h 10026"/>
                      <a:gd name="connsiteX3" fmla="*/ 7174 w 10000"/>
                      <a:gd name="connsiteY3" fmla="*/ 10026 h 10026"/>
                      <a:gd name="connsiteX4" fmla="*/ 6192 w 10000"/>
                      <a:gd name="connsiteY4" fmla="*/ 10026 h 10026"/>
                      <a:gd name="connsiteX5" fmla="*/ 6192 w 10000"/>
                      <a:gd name="connsiteY5" fmla="*/ 4606 h 10026"/>
                      <a:gd name="connsiteX6" fmla="*/ 3590 w 10000"/>
                      <a:gd name="connsiteY6" fmla="*/ 4606 h 10026"/>
                      <a:gd name="connsiteX7" fmla="*/ 3590 w 10000"/>
                      <a:gd name="connsiteY7" fmla="*/ 10026 h 10026"/>
                      <a:gd name="connsiteX8" fmla="*/ 0 w 10000"/>
                      <a:gd name="connsiteY8" fmla="*/ 10026 h 10026"/>
                      <a:gd name="connsiteX0" fmla="*/ 8648 w 8648"/>
                      <a:gd name="connsiteY0" fmla="*/ 0 h 10026"/>
                      <a:gd name="connsiteX1" fmla="*/ 7174 w 8648"/>
                      <a:gd name="connsiteY1" fmla="*/ 26 h 10026"/>
                      <a:gd name="connsiteX2" fmla="*/ 7174 w 8648"/>
                      <a:gd name="connsiteY2" fmla="*/ 10026 h 10026"/>
                      <a:gd name="connsiteX3" fmla="*/ 6192 w 8648"/>
                      <a:gd name="connsiteY3" fmla="*/ 10026 h 10026"/>
                      <a:gd name="connsiteX4" fmla="*/ 6192 w 8648"/>
                      <a:gd name="connsiteY4" fmla="*/ 4606 h 10026"/>
                      <a:gd name="connsiteX5" fmla="*/ 3590 w 8648"/>
                      <a:gd name="connsiteY5" fmla="*/ 4606 h 10026"/>
                      <a:gd name="connsiteX6" fmla="*/ 3590 w 8648"/>
                      <a:gd name="connsiteY6" fmla="*/ 10026 h 10026"/>
                      <a:gd name="connsiteX7" fmla="*/ 0 w 8648"/>
                      <a:gd name="connsiteY7"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8" h="10026">
                        <a:moveTo>
                          <a:pt x="8648" y="0"/>
                        </a:moveTo>
                        <a:lnTo>
                          <a:pt x="7174" y="26"/>
                        </a:lnTo>
                        <a:lnTo>
                          <a:pt x="7174" y="10026"/>
                        </a:lnTo>
                        <a:lnTo>
                          <a:pt x="6192" y="10026"/>
                        </a:lnTo>
                        <a:lnTo>
                          <a:pt x="6192" y="4606"/>
                        </a:lnTo>
                        <a:lnTo>
                          <a:pt x="3590" y="4606"/>
                        </a:lnTo>
                        <a:lnTo>
                          <a:pt x="3590" y="10026"/>
                        </a:lnTo>
                        <a:lnTo>
                          <a:pt x="0" y="10026"/>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a:solidFill>
                        <a:srgbClr val="2E2E2E"/>
                      </a:solidFill>
                    </a:endParaRPr>
                  </a:p>
                </p:txBody>
              </p:sp>
            </p:grpSp>
          </p:grpSp>
        </p:grpSp>
      </p:grpSp>
      <p:sp>
        <p:nvSpPr>
          <p:cNvPr id="113" name="TextBox 112"/>
          <p:cNvSpPr txBox="1"/>
          <p:nvPr/>
        </p:nvSpPr>
        <p:spPr>
          <a:xfrm rot="1168104">
            <a:off x="10073640" y="1694612"/>
            <a:ext cx="822960" cy="307777"/>
          </a:xfrm>
          <a:prstGeom prst="rect">
            <a:avLst/>
          </a:prstGeom>
          <a:noFill/>
        </p:spPr>
        <p:txBody>
          <a:bodyPr wrap="none" rtlCol="0">
            <a:prstTxWarp prst="textArchUp">
              <a:avLst/>
            </a:prstTxWarp>
            <a:spAutoFit/>
          </a:bodyPr>
          <a:lstStyle/>
          <a:p>
            <a:r>
              <a:rPr lang="en-US" sz="1400" smtClean="0">
                <a:solidFill>
                  <a:schemeClr val="accent1">
                    <a:lumMod val="50000"/>
                  </a:schemeClr>
                </a:solidFill>
                <a:latin typeface="Times New Roman" panose="02020603050405020304" pitchFamily="18" charset="0"/>
                <a:cs typeface="Times New Roman" panose="02020603050405020304" pitchFamily="18" charset="0"/>
              </a:rPr>
              <a:t>LINK</a:t>
            </a:r>
            <a:endParaRPr lang="en-US" sz="1400">
              <a:solidFill>
                <a:schemeClr val="accent1">
                  <a:lumMod val="50000"/>
                </a:schemeClr>
              </a:solidFill>
              <a:latin typeface="Times New Roman" panose="02020603050405020304" pitchFamily="18" charset="0"/>
              <a:cs typeface="Times New Roman" panose="02020603050405020304" pitchFamily="18" charset="0"/>
            </a:endParaRPr>
          </a:p>
        </p:txBody>
      </p:sp>
      <p:sp>
        <p:nvSpPr>
          <p:cNvPr id="3" name="TextBox 2"/>
          <p:cNvSpPr txBox="1"/>
          <p:nvPr/>
        </p:nvSpPr>
        <p:spPr>
          <a:xfrm>
            <a:off x="777499" y="829270"/>
            <a:ext cx="10276140" cy="923330"/>
          </a:xfrm>
          <a:prstGeom prst="rect">
            <a:avLst/>
          </a:prstGeom>
          <a:noFill/>
        </p:spPr>
        <p:txBody>
          <a:bodyPr wrap="square" rtlCol="0">
            <a:spAutoFit/>
          </a:bodyPr>
          <a:lstStyle/>
          <a:p>
            <a:pPr marL="0" lvl="1"/>
            <a:r>
              <a:rPr lang="en-US" dirty="0">
                <a:solidFill>
                  <a:srgbClr val="5D5D5D">
                    <a:lumMod val="50000"/>
                  </a:srgbClr>
                </a:solidFill>
              </a:rPr>
              <a:t>Digital Factory Operating system is working on factory governance and establishes standard guidelines for action taken </a:t>
            </a:r>
            <a:r>
              <a:rPr lang="en-US" dirty="0" smtClean="0">
                <a:solidFill>
                  <a:srgbClr val="5D5D5D">
                    <a:lumMod val="50000"/>
                  </a:srgbClr>
                </a:solidFill>
              </a:rPr>
              <a:t>with right </a:t>
            </a:r>
            <a:r>
              <a:rPr lang="en-US" dirty="0">
                <a:solidFill>
                  <a:srgbClr val="5D5D5D">
                    <a:lumMod val="50000"/>
                  </a:srgbClr>
                </a:solidFill>
              </a:rPr>
              <a:t>KPI management</a:t>
            </a:r>
          </a:p>
          <a:p>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752600"/>
            <a:ext cx="3657600" cy="2756930"/>
          </a:xfrm>
          <a:prstGeom prst="rect">
            <a:avLst/>
          </a:prstGeom>
          <a:noFill/>
          <a:ln>
            <a:noFill/>
          </a:ln>
          <a:effectLst>
            <a:innerShdw blurRad="114300">
              <a:schemeClr val="accent2">
                <a:lumMod val="50000"/>
              </a:scheme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33621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 xmlns:a16="http://schemas.microsoft.com/office/drawing/2014/main" id="{C87F7D95-A004-4933-9357-16FB71778687}"/>
              </a:ext>
            </a:extLst>
          </p:cNvPr>
          <p:cNvSpPr>
            <a:spLocks noGrp="1"/>
          </p:cNvSpPr>
          <p:nvPr>
            <p:ph type="title"/>
          </p:nvPr>
        </p:nvSpPr>
        <p:spPr>
          <a:xfrm>
            <a:off x="457200" y="274642"/>
            <a:ext cx="10440534" cy="745601"/>
          </a:xfrm>
        </p:spPr>
        <p:txBody>
          <a:bodyPr/>
          <a:lstStyle/>
          <a:p>
            <a:r>
              <a:rPr lang="en-US" dirty="0" smtClean="0"/>
              <a:t>Problem Statements</a:t>
            </a:r>
            <a:endParaRPr lang="en-US" dirty="0"/>
          </a:p>
        </p:txBody>
      </p:sp>
      <p:grpSp>
        <p:nvGrpSpPr>
          <p:cNvPr id="58" name="Group 57">
            <a:extLst>
              <a:ext uri="{FF2B5EF4-FFF2-40B4-BE49-F238E27FC236}">
                <a16:creationId xmlns="" xmlns:a16="http://schemas.microsoft.com/office/drawing/2014/main" id="{69C55AA0-AC34-4BF7-AA2E-2FFC76112B9B}"/>
              </a:ext>
            </a:extLst>
          </p:cNvPr>
          <p:cNvGrpSpPr/>
          <p:nvPr/>
        </p:nvGrpSpPr>
        <p:grpSpPr>
          <a:xfrm>
            <a:off x="803305" y="916518"/>
            <a:ext cx="7161831" cy="1151643"/>
            <a:chOff x="803305" y="1573597"/>
            <a:chExt cx="7161831" cy="1151643"/>
          </a:xfrm>
        </p:grpSpPr>
        <p:grpSp>
          <p:nvGrpSpPr>
            <p:cNvPr id="10" name="Group 9">
              <a:extLst>
                <a:ext uri="{FF2B5EF4-FFF2-40B4-BE49-F238E27FC236}">
                  <a16:creationId xmlns="" xmlns:a16="http://schemas.microsoft.com/office/drawing/2014/main" id="{0721152B-1342-4DFE-8F46-5775599800A5}"/>
                </a:ext>
              </a:extLst>
            </p:cNvPr>
            <p:cNvGrpSpPr/>
            <p:nvPr/>
          </p:nvGrpSpPr>
          <p:grpSpPr>
            <a:xfrm>
              <a:off x="1331585" y="1715811"/>
              <a:ext cx="6633551" cy="955437"/>
              <a:chOff x="644346" y="1066802"/>
              <a:chExt cx="4253715" cy="893247"/>
            </a:xfrm>
          </p:grpSpPr>
          <p:sp>
            <p:nvSpPr>
              <p:cNvPr id="11" name="Parallelogram 5">
                <a:extLst>
                  <a:ext uri="{FF2B5EF4-FFF2-40B4-BE49-F238E27FC236}">
                    <a16:creationId xmlns="" xmlns:a16="http://schemas.microsoft.com/office/drawing/2014/main" id="{C2A24F4A-01DB-40FC-9E77-5630657FED6B}"/>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tx1"/>
                  </a:solidFill>
                </a:endParaRPr>
              </a:p>
            </p:txBody>
          </p:sp>
          <p:sp>
            <p:nvSpPr>
              <p:cNvPr id="12" name="TextBox 11">
                <a:extLst>
                  <a:ext uri="{FF2B5EF4-FFF2-40B4-BE49-F238E27FC236}">
                    <a16:creationId xmlns="" xmlns:a16="http://schemas.microsoft.com/office/drawing/2014/main" id="{6368D5AF-1251-4411-A220-36CB38C44EB9}"/>
                  </a:ext>
                </a:extLst>
              </p:cNvPr>
              <p:cNvSpPr txBox="1"/>
              <p:nvPr/>
            </p:nvSpPr>
            <p:spPr>
              <a:xfrm>
                <a:off x="1108268" y="1183142"/>
                <a:ext cx="3789793" cy="776907"/>
              </a:xfrm>
              <a:prstGeom prst="rect">
                <a:avLst/>
              </a:prstGeom>
              <a:noFill/>
              <a:ln>
                <a:noFill/>
              </a:ln>
            </p:spPr>
            <p:txBody>
              <a:bodyPr wrap="square" rtlCol="0">
                <a:spAutoFit/>
              </a:bodyPr>
              <a:lstStyle/>
              <a:p>
                <a:pPr algn="ctr"/>
                <a:r>
                  <a:rPr lang="en-US" sz="2400" dirty="0" smtClean="0"/>
                  <a:t>Employee skill deficiency on machine Operations</a:t>
                </a:r>
                <a:endParaRPr lang="en-US" sz="2400" dirty="0"/>
              </a:p>
            </p:txBody>
          </p:sp>
        </p:grpSp>
        <p:grpSp>
          <p:nvGrpSpPr>
            <p:cNvPr id="32" name="Group 31">
              <a:extLst>
                <a:ext uri="{FF2B5EF4-FFF2-40B4-BE49-F238E27FC236}">
                  <a16:creationId xmlns="" xmlns:a16="http://schemas.microsoft.com/office/drawing/2014/main" id="{61271B5A-D66E-43CC-AD33-488AA95CFEAE}"/>
                </a:ext>
              </a:extLst>
            </p:cNvPr>
            <p:cNvGrpSpPr/>
            <p:nvPr/>
          </p:nvGrpSpPr>
          <p:grpSpPr>
            <a:xfrm>
              <a:off x="803305" y="1573597"/>
              <a:ext cx="1340415" cy="1151643"/>
              <a:chOff x="803305" y="1573598"/>
              <a:chExt cx="1056563" cy="1098324"/>
            </a:xfrm>
          </p:grpSpPr>
          <p:grpSp>
            <p:nvGrpSpPr>
              <p:cNvPr id="33" name="Group 32">
                <a:extLst>
                  <a:ext uri="{FF2B5EF4-FFF2-40B4-BE49-F238E27FC236}">
                    <a16:creationId xmlns="" xmlns:a16="http://schemas.microsoft.com/office/drawing/2014/main" id="{93906514-1E9A-494A-BB28-896F79620618}"/>
                  </a:ext>
                </a:extLst>
              </p:cNvPr>
              <p:cNvGrpSpPr>
                <a:grpSpLocks noChangeAspect="1"/>
              </p:cNvGrpSpPr>
              <p:nvPr/>
            </p:nvGrpSpPr>
            <p:grpSpPr>
              <a:xfrm>
                <a:off x="803305" y="1573598"/>
                <a:ext cx="1056563" cy="1098324"/>
                <a:chOff x="6875704" y="5143201"/>
                <a:chExt cx="1300356" cy="1351752"/>
              </a:xfrm>
            </p:grpSpPr>
            <p:sp>
              <p:nvSpPr>
                <p:cNvPr id="35" name="Oval 34">
                  <a:extLst>
                    <a:ext uri="{FF2B5EF4-FFF2-40B4-BE49-F238E27FC236}">
                      <a16:creationId xmlns="" xmlns:a16="http://schemas.microsoft.com/office/drawing/2014/main" id="{4BB4EF8C-341F-4F48-B8DB-048748993204}"/>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 xmlns:a16="http://schemas.microsoft.com/office/drawing/2014/main" id="{D3B2E588-19B6-4333-B029-77E918A99048}"/>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34" name="TextBox 33">
                <a:extLst>
                  <a:ext uri="{FF2B5EF4-FFF2-40B4-BE49-F238E27FC236}">
                    <a16:creationId xmlns="" xmlns:a16="http://schemas.microsoft.com/office/drawing/2014/main" id="{918E53DC-F09F-4244-A29C-F9A7EDD42A42}"/>
                  </a:ext>
                </a:extLst>
              </p:cNvPr>
              <p:cNvSpPr txBox="1"/>
              <p:nvPr/>
            </p:nvSpPr>
            <p:spPr>
              <a:xfrm>
                <a:off x="963335" y="1708742"/>
                <a:ext cx="734837" cy="707886"/>
              </a:xfrm>
              <a:prstGeom prst="rect">
                <a:avLst/>
              </a:prstGeom>
              <a:noFill/>
            </p:spPr>
            <p:txBody>
              <a:bodyPr wrap="square" rtlCol="0" anchor="ctr">
                <a:spAutoFit/>
              </a:bodyPr>
              <a:lstStyle/>
              <a:p>
                <a:pPr algn="ctr"/>
                <a:r>
                  <a:rPr lang="en-US" sz="4000">
                    <a:solidFill>
                      <a:schemeClr val="bg1"/>
                    </a:solidFill>
                    <a:latin typeface="Arial Black" pitchFamily="34" charset="0"/>
                  </a:rPr>
                  <a:t>1</a:t>
                </a:r>
              </a:p>
            </p:txBody>
          </p:sp>
        </p:grpSp>
      </p:grpSp>
      <p:grpSp>
        <p:nvGrpSpPr>
          <p:cNvPr id="59" name="Group 58">
            <a:extLst>
              <a:ext uri="{FF2B5EF4-FFF2-40B4-BE49-F238E27FC236}">
                <a16:creationId xmlns="" xmlns:a16="http://schemas.microsoft.com/office/drawing/2014/main" id="{E63030D8-371D-48D3-8A98-958FDAD6B504}"/>
              </a:ext>
            </a:extLst>
          </p:cNvPr>
          <p:cNvGrpSpPr/>
          <p:nvPr/>
        </p:nvGrpSpPr>
        <p:grpSpPr>
          <a:xfrm>
            <a:off x="815779" y="2057400"/>
            <a:ext cx="7056073" cy="1151643"/>
            <a:chOff x="815779" y="2787875"/>
            <a:chExt cx="7056073" cy="1151643"/>
          </a:xfrm>
        </p:grpSpPr>
        <p:grpSp>
          <p:nvGrpSpPr>
            <p:cNvPr id="14" name="Group 13">
              <a:extLst>
                <a:ext uri="{FF2B5EF4-FFF2-40B4-BE49-F238E27FC236}">
                  <a16:creationId xmlns="" xmlns:a16="http://schemas.microsoft.com/office/drawing/2014/main" id="{79036574-C899-4C9E-8615-322AE93F04CE}"/>
                </a:ext>
              </a:extLst>
            </p:cNvPr>
            <p:cNvGrpSpPr/>
            <p:nvPr/>
          </p:nvGrpSpPr>
          <p:grpSpPr>
            <a:xfrm>
              <a:off x="1330497" y="2895252"/>
              <a:ext cx="6541355" cy="1000016"/>
              <a:chOff x="644346" y="1066802"/>
              <a:chExt cx="4194595" cy="934924"/>
            </a:xfrm>
          </p:grpSpPr>
          <p:sp>
            <p:nvSpPr>
              <p:cNvPr id="15" name="Parallelogram 5">
                <a:extLst>
                  <a:ext uri="{FF2B5EF4-FFF2-40B4-BE49-F238E27FC236}">
                    <a16:creationId xmlns="" xmlns:a16="http://schemas.microsoft.com/office/drawing/2014/main" id="{44587E2C-08D2-41F2-8D08-220201898E2A}"/>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16" name="TextBox 15">
                <a:extLst>
                  <a:ext uri="{FF2B5EF4-FFF2-40B4-BE49-F238E27FC236}">
                    <a16:creationId xmlns="" xmlns:a16="http://schemas.microsoft.com/office/drawing/2014/main" id="{E6D49FA3-A9B5-4E5D-BED5-97634A91A266}"/>
                  </a:ext>
                </a:extLst>
              </p:cNvPr>
              <p:cNvSpPr txBox="1"/>
              <p:nvPr/>
            </p:nvSpPr>
            <p:spPr>
              <a:xfrm>
                <a:off x="1049148" y="1224819"/>
                <a:ext cx="3789793" cy="776907"/>
              </a:xfrm>
              <a:prstGeom prst="rect">
                <a:avLst/>
              </a:prstGeom>
              <a:noFill/>
              <a:ln>
                <a:noFill/>
              </a:ln>
            </p:spPr>
            <p:txBody>
              <a:bodyPr wrap="square" rtlCol="0">
                <a:spAutoFit/>
              </a:bodyPr>
              <a:lstStyle/>
              <a:p>
                <a:pPr algn="ctr"/>
                <a:r>
                  <a:rPr lang="en-US" sz="2400" dirty="0" smtClean="0"/>
                  <a:t>Unavailability of tracking efficiency of machine</a:t>
                </a:r>
                <a:endParaRPr lang="en-US" sz="2400" dirty="0"/>
              </a:p>
            </p:txBody>
          </p:sp>
        </p:grpSp>
        <p:grpSp>
          <p:nvGrpSpPr>
            <p:cNvPr id="37" name="Group 36">
              <a:extLst>
                <a:ext uri="{FF2B5EF4-FFF2-40B4-BE49-F238E27FC236}">
                  <a16:creationId xmlns="" xmlns:a16="http://schemas.microsoft.com/office/drawing/2014/main" id="{BEE708F9-7EEE-407A-B851-EBC67CD42EFE}"/>
                </a:ext>
              </a:extLst>
            </p:cNvPr>
            <p:cNvGrpSpPr/>
            <p:nvPr/>
          </p:nvGrpSpPr>
          <p:grpSpPr>
            <a:xfrm>
              <a:off x="815779" y="2787875"/>
              <a:ext cx="1340415" cy="1151643"/>
              <a:chOff x="803305" y="1573598"/>
              <a:chExt cx="1056563" cy="1098324"/>
            </a:xfrm>
          </p:grpSpPr>
          <p:grpSp>
            <p:nvGrpSpPr>
              <p:cNvPr id="38" name="Group 37">
                <a:extLst>
                  <a:ext uri="{FF2B5EF4-FFF2-40B4-BE49-F238E27FC236}">
                    <a16:creationId xmlns="" xmlns:a16="http://schemas.microsoft.com/office/drawing/2014/main" id="{E68CFCEA-5284-46B5-9832-A7EA8F04F0DF}"/>
                  </a:ext>
                </a:extLst>
              </p:cNvPr>
              <p:cNvGrpSpPr>
                <a:grpSpLocks noChangeAspect="1"/>
              </p:cNvGrpSpPr>
              <p:nvPr/>
            </p:nvGrpSpPr>
            <p:grpSpPr>
              <a:xfrm>
                <a:off x="803305" y="1573598"/>
                <a:ext cx="1056563" cy="1098324"/>
                <a:chOff x="6875704" y="5143201"/>
                <a:chExt cx="1300356" cy="1351752"/>
              </a:xfrm>
            </p:grpSpPr>
            <p:sp>
              <p:nvSpPr>
                <p:cNvPr id="40" name="Oval 39">
                  <a:extLst>
                    <a:ext uri="{FF2B5EF4-FFF2-40B4-BE49-F238E27FC236}">
                      <a16:creationId xmlns="" xmlns:a16="http://schemas.microsoft.com/office/drawing/2014/main" id="{5BB80C4F-20AF-44FE-ACE5-4A3312C29F60}"/>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 xmlns:a16="http://schemas.microsoft.com/office/drawing/2014/main" id="{C567C762-025E-4405-8C45-08994E66E8BC}"/>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39" name="TextBox 38">
                <a:extLst>
                  <a:ext uri="{FF2B5EF4-FFF2-40B4-BE49-F238E27FC236}">
                    <a16:creationId xmlns="" xmlns:a16="http://schemas.microsoft.com/office/drawing/2014/main" id="{D99126FA-9019-4296-B847-42766A7D7F12}"/>
                  </a:ext>
                </a:extLst>
              </p:cNvPr>
              <p:cNvSpPr txBox="1"/>
              <p:nvPr/>
            </p:nvSpPr>
            <p:spPr>
              <a:xfrm>
                <a:off x="963335" y="1708742"/>
                <a:ext cx="734837" cy="707886"/>
              </a:xfrm>
              <a:prstGeom prst="rect">
                <a:avLst/>
              </a:prstGeom>
              <a:noFill/>
            </p:spPr>
            <p:txBody>
              <a:bodyPr wrap="square" rtlCol="0" anchor="ctr">
                <a:spAutoFit/>
              </a:bodyPr>
              <a:lstStyle/>
              <a:p>
                <a:pPr algn="ctr"/>
                <a:r>
                  <a:rPr lang="en-US" sz="4000">
                    <a:solidFill>
                      <a:schemeClr val="bg1"/>
                    </a:solidFill>
                    <a:latin typeface="Arial Black" pitchFamily="34" charset="0"/>
                  </a:rPr>
                  <a:t>2</a:t>
                </a:r>
              </a:p>
            </p:txBody>
          </p:sp>
        </p:grpSp>
      </p:gr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8802" y="3328159"/>
            <a:ext cx="6181090" cy="3324279"/>
          </a:xfrm>
          <a:prstGeom prst="rect">
            <a:avLst/>
          </a:prstGeom>
          <a:noFill/>
          <a:ln w="9525">
            <a:solidFill>
              <a:schemeClr val="tx1">
                <a:lumMod val="85000"/>
                <a:lumOff val="15000"/>
              </a:schemeClr>
            </a:solidFill>
            <a:miter lim="800000"/>
            <a:headEnd/>
            <a:tailEnd/>
          </a:ln>
          <a:effectLst>
            <a:innerShdw blurRad="114300">
              <a:prstClr val="black"/>
            </a:innerShdw>
          </a:effectLst>
          <a:extLst>
            <a:ext uri="{909E8E84-426E-40DD-AFC4-6F175D3DCCD1}">
              <a14:hiddenFill xmlns:a14="http://schemas.microsoft.com/office/drawing/2010/main">
                <a:solidFill>
                  <a:schemeClr val="accent1"/>
                </a:solidFill>
              </a14:hiddenFill>
            </a:ext>
          </a:extLst>
        </p:spPr>
      </p:pic>
      <p:grpSp>
        <p:nvGrpSpPr>
          <p:cNvPr id="2" name="Group 1"/>
          <p:cNvGrpSpPr/>
          <p:nvPr/>
        </p:nvGrpSpPr>
        <p:grpSpPr>
          <a:xfrm>
            <a:off x="8472243" y="-594181"/>
            <a:ext cx="2881557" cy="4708981"/>
            <a:chOff x="8472243" y="-594181"/>
            <a:chExt cx="2881557" cy="4708981"/>
          </a:xfrm>
        </p:grpSpPr>
        <p:sp>
          <p:nvSpPr>
            <p:cNvPr id="8" name="Oval 7">
              <a:extLst>
                <a:ext uri="{FF2B5EF4-FFF2-40B4-BE49-F238E27FC236}">
                  <a16:creationId xmlns="" xmlns:a16="http://schemas.microsoft.com/office/drawing/2014/main" id="{8AD318E4-3B5B-4521-8395-DC257C35C8D2}"/>
                </a:ext>
              </a:extLst>
            </p:cNvPr>
            <p:cNvSpPr/>
            <p:nvPr/>
          </p:nvSpPr>
          <p:spPr>
            <a:xfrm>
              <a:off x="8472243" y="3048000"/>
              <a:ext cx="2195757" cy="479395"/>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 xmlns:a16="http://schemas.microsoft.com/office/drawing/2014/main" id="{8E20E9BF-9FB1-4951-B821-73B1BCE5C77C}"/>
                </a:ext>
              </a:extLst>
            </p:cNvPr>
            <p:cNvGrpSpPr>
              <a:grpSpLocks noChangeAspect="1"/>
            </p:cNvGrpSpPr>
            <p:nvPr/>
          </p:nvGrpSpPr>
          <p:grpSpPr>
            <a:xfrm>
              <a:off x="10604181" y="2469478"/>
              <a:ext cx="617129" cy="1495852"/>
              <a:chOff x="3157538" y="2109788"/>
              <a:chExt cx="677863" cy="1643063"/>
            </a:xfrm>
          </p:grpSpPr>
          <p:sp>
            <p:nvSpPr>
              <p:cNvPr id="21" name="Freeform 29">
                <a:extLst>
                  <a:ext uri="{FF2B5EF4-FFF2-40B4-BE49-F238E27FC236}">
                    <a16:creationId xmlns="" xmlns:a16="http://schemas.microsoft.com/office/drawing/2014/main" id="{DA1440EC-D469-4A46-A14D-2613DA6AB0A1}"/>
                  </a:ext>
                </a:extLst>
              </p:cNvPr>
              <p:cNvSpPr>
                <a:spLocks noEditPoints="1"/>
              </p:cNvSpPr>
              <p:nvPr/>
            </p:nvSpPr>
            <p:spPr bwMode="auto">
              <a:xfrm>
                <a:off x="3157538" y="2109788"/>
                <a:ext cx="677863" cy="1643063"/>
              </a:xfrm>
              <a:custGeom>
                <a:avLst/>
                <a:gdLst>
                  <a:gd name="T0" fmla="*/ 159 w 320"/>
                  <a:gd name="T1" fmla="*/ 699 h 776"/>
                  <a:gd name="T2" fmla="*/ 167 w 320"/>
                  <a:gd name="T3" fmla="*/ 726 h 776"/>
                  <a:gd name="T4" fmla="*/ 169 w 320"/>
                  <a:gd name="T5" fmla="*/ 740 h 776"/>
                  <a:gd name="T6" fmla="*/ 203 w 320"/>
                  <a:gd name="T7" fmla="*/ 754 h 776"/>
                  <a:gd name="T8" fmla="*/ 257 w 320"/>
                  <a:gd name="T9" fmla="*/ 760 h 776"/>
                  <a:gd name="T10" fmla="*/ 246 w 320"/>
                  <a:gd name="T11" fmla="*/ 740 h 776"/>
                  <a:gd name="T12" fmla="*/ 220 w 320"/>
                  <a:gd name="T13" fmla="*/ 716 h 776"/>
                  <a:gd name="T14" fmla="*/ 220 w 320"/>
                  <a:gd name="T15" fmla="*/ 647 h 776"/>
                  <a:gd name="T16" fmla="*/ 233 w 320"/>
                  <a:gd name="T17" fmla="*/ 423 h 776"/>
                  <a:gd name="T18" fmla="*/ 249 w 320"/>
                  <a:gd name="T19" fmla="*/ 399 h 776"/>
                  <a:gd name="T20" fmla="*/ 279 w 320"/>
                  <a:gd name="T21" fmla="*/ 409 h 776"/>
                  <a:gd name="T22" fmla="*/ 291 w 320"/>
                  <a:gd name="T23" fmla="*/ 399 h 776"/>
                  <a:gd name="T24" fmla="*/ 269 w 320"/>
                  <a:gd name="T25" fmla="*/ 229 h 776"/>
                  <a:gd name="T26" fmla="*/ 310 w 320"/>
                  <a:gd name="T27" fmla="*/ 214 h 776"/>
                  <a:gd name="T28" fmla="*/ 280 w 320"/>
                  <a:gd name="T29" fmla="*/ 106 h 776"/>
                  <a:gd name="T30" fmla="*/ 255 w 320"/>
                  <a:gd name="T31" fmla="*/ 74 h 776"/>
                  <a:gd name="T32" fmla="*/ 246 w 320"/>
                  <a:gd name="T33" fmla="*/ 65 h 776"/>
                  <a:gd name="T34" fmla="*/ 235 w 320"/>
                  <a:gd name="T35" fmla="*/ 62 h 776"/>
                  <a:gd name="T36" fmla="*/ 205 w 320"/>
                  <a:gd name="T37" fmla="*/ 15 h 776"/>
                  <a:gd name="T38" fmla="*/ 131 w 320"/>
                  <a:gd name="T39" fmla="*/ 48 h 776"/>
                  <a:gd name="T40" fmla="*/ 127 w 320"/>
                  <a:gd name="T41" fmla="*/ 94 h 776"/>
                  <a:gd name="T42" fmla="*/ 119 w 320"/>
                  <a:gd name="T43" fmla="*/ 98 h 776"/>
                  <a:gd name="T44" fmla="*/ 101 w 320"/>
                  <a:gd name="T45" fmla="*/ 111 h 776"/>
                  <a:gd name="T46" fmla="*/ 30 w 320"/>
                  <a:gd name="T47" fmla="*/ 149 h 776"/>
                  <a:gd name="T48" fmla="*/ 8 w 320"/>
                  <a:gd name="T49" fmla="*/ 265 h 776"/>
                  <a:gd name="T50" fmla="*/ 39 w 320"/>
                  <a:gd name="T51" fmla="*/ 422 h 776"/>
                  <a:gd name="T52" fmla="*/ 56 w 320"/>
                  <a:gd name="T53" fmla="*/ 427 h 776"/>
                  <a:gd name="T54" fmla="*/ 6 w 320"/>
                  <a:gd name="T55" fmla="*/ 754 h 776"/>
                  <a:gd name="T56" fmla="*/ 48 w 320"/>
                  <a:gd name="T57" fmla="*/ 771 h 776"/>
                  <a:gd name="T58" fmla="*/ 63 w 320"/>
                  <a:gd name="T59" fmla="*/ 739 h 776"/>
                  <a:gd name="T60" fmla="*/ 63 w 320"/>
                  <a:gd name="T61" fmla="*/ 730 h 776"/>
                  <a:gd name="T62" fmla="*/ 111 w 320"/>
                  <a:gd name="T63" fmla="*/ 603 h 776"/>
                  <a:gd name="T64" fmla="*/ 212 w 320"/>
                  <a:gd name="T65" fmla="*/ 89 h 776"/>
                  <a:gd name="T66" fmla="*/ 219 w 320"/>
                  <a:gd name="T67" fmla="*/ 94 h 776"/>
                  <a:gd name="T68" fmla="*/ 240 w 320"/>
                  <a:gd name="T69" fmla="*/ 109 h 776"/>
                  <a:gd name="T70" fmla="*/ 244 w 320"/>
                  <a:gd name="T71" fmla="*/ 127 h 776"/>
                  <a:gd name="T72" fmla="*/ 260 w 320"/>
                  <a:gd name="T73" fmla="*/ 158 h 776"/>
                  <a:gd name="T74" fmla="*/ 251 w 320"/>
                  <a:gd name="T75" fmla="*/ 149 h 776"/>
                  <a:gd name="T76" fmla="*/ 226 w 320"/>
                  <a:gd name="T77" fmla="*/ 135 h 776"/>
                  <a:gd name="T78" fmla="*/ 181 w 320"/>
                  <a:gd name="T79" fmla="*/ 125 h 776"/>
                  <a:gd name="T80" fmla="*/ 202 w 320"/>
                  <a:gd name="T81" fmla="*/ 101 h 776"/>
                  <a:gd name="T82" fmla="*/ 208 w 320"/>
                  <a:gd name="T83" fmla="*/ 86 h 776"/>
                  <a:gd name="T84" fmla="*/ 215 w 320"/>
                  <a:gd name="T85" fmla="*/ 70 h 776"/>
                  <a:gd name="T86" fmla="*/ 222 w 320"/>
                  <a:gd name="T87" fmla="*/ 74 h 776"/>
                  <a:gd name="T88" fmla="*/ 213 w 320"/>
                  <a:gd name="T89" fmla="*/ 76 h 776"/>
                  <a:gd name="T90" fmla="*/ 229 w 320"/>
                  <a:gd name="T91" fmla="*/ 81 h 776"/>
                  <a:gd name="T92" fmla="*/ 229 w 320"/>
                  <a:gd name="T93" fmla="*/ 81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776">
                    <a:moveTo>
                      <a:pt x="146" y="465"/>
                    </a:moveTo>
                    <a:cubicBezTo>
                      <a:pt x="146" y="465"/>
                      <a:pt x="158" y="671"/>
                      <a:pt x="159" y="699"/>
                    </a:cubicBezTo>
                    <a:cubicBezTo>
                      <a:pt x="160" y="728"/>
                      <a:pt x="159" y="726"/>
                      <a:pt x="159" y="726"/>
                    </a:cubicBezTo>
                    <a:cubicBezTo>
                      <a:pt x="167" y="726"/>
                      <a:pt x="167" y="726"/>
                      <a:pt x="167" y="726"/>
                    </a:cubicBezTo>
                    <a:cubicBezTo>
                      <a:pt x="167" y="726"/>
                      <a:pt x="167" y="730"/>
                      <a:pt x="168" y="733"/>
                    </a:cubicBezTo>
                    <a:cubicBezTo>
                      <a:pt x="169" y="736"/>
                      <a:pt x="166" y="738"/>
                      <a:pt x="169" y="740"/>
                    </a:cubicBezTo>
                    <a:cubicBezTo>
                      <a:pt x="172" y="743"/>
                      <a:pt x="188" y="747"/>
                      <a:pt x="191" y="747"/>
                    </a:cubicBezTo>
                    <a:cubicBezTo>
                      <a:pt x="193" y="747"/>
                      <a:pt x="198" y="748"/>
                      <a:pt x="203" y="754"/>
                    </a:cubicBezTo>
                    <a:cubicBezTo>
                      <a:pt x="207" y="760"/>
                      <a:pt x="219" y="767"/>
                      <a:pt x="229" y="768"/>
                    </a:cubicBezTo>
                    <a:cubicBezTo>
                      <a:pt x="238" y="768"/>
                      <a:pt x="257" y="763"/>
                      <a:pt x="257" y="760"/>
                    </a:cubicBezTo>
                    <a:cubicBezTo>
                      <a:pt x="257" y="757"/>
                      <a:pt x="255" y="756"/>
                      <a:pt x="255" y="756"/>
                    </a:cubicBezTo>
                    <a:cubicBezTo>
                      <a:pt x="255" y="756"/>
                      <a:pt x="256" y="749"/>
                      <a:pt x="246" y="740"/>
                    </a:cubicBezTo>
                    <a:cubicBezTo>
                      <a:pt x="237" y="731"/>
                      <a:pt x="226" y="725"/>
                      <a:pt x="222" y="720"/>
                    </a:cubicBezTo>
                    <a:cubicBezTo>
                      <a:pt x="219" y="715"/>
                      <a:pt x="220" y="716"/>
                      <a:pt x="220" y="716"/>
                    </a:cubicBezTo>
                    <a:cubicBezTo>
                      <a:pt x="223" y="717"/>
                      <a:pt x="223" y="717"/>
                      <a:pt x="223" y="717"/>
                    </a:cubicBezTo>
                    <a:cubicBezTo>
                      <a:pt x="223" y="717"/>
                      <a:pt x="219" y="675"/>
                      <a:pt x="220" y="647"/>
                    </a:cubicBezTo>
                    <a:cubicBezTo>
                      <a:pt x="221" y="619"/>
                      <a:pt x="227" y="523"/>
                      <a:pt x="229" y="503"/>
                    </a:cubicBezTo>
                    <a:cubicBezTo>
                      <a:pt x="232" y="482"/>
                      <a:pt x="234" y="433"/>
                      <a:pt x="233" y="423"/>
                    </a:cubicBezTo>
                    <a:cubicBezTo>
                      <a:pt x="232" y="413"/>
                      <a:pt x="231" y="412"/>
                      <a:pt x="231" y="412"/>
                    </a:cubicBezTo>
                    <a:cubicBezTo>
                      <a:pt x="231" y="412"/>
                      <a:pt x="235" y="401"/>
                      <a:pt x="249" y="399"/>
                    </a:cubicBezTo>
                    <a:cubicBezTo>
                      <a:pt x="262" y="398"/>
                      <a:pt x="270" y="398"/>
                      <a:pt x="270" y="398"/>
                    </a:cubicBezTo>
                    <a:cubicBezTo>
                      <a:pt x="270" y="398"/>
                      <a:pt x="273" y="404"/>
                      <a:pt x="279" y="409"/>
                    </a:cubicBezTo>
                    <a:cubicBezTo>
                      <a:pt x="285" y="414"/>
                      <a:pt x="290" y="414"/>
                      <a:pt x="290" y="414"/>
                    </a:cubicBezTo>
                    <a:cubicBezTo>
                      <a:pt x="290" y="414"/>
                      <a:pt x="292" y="406"/>
                      <a:pt x="291" y="399"/>
                    </a:cubicBezTo>
                    <a:cubicBezTo>
                      <a:pt x="291" y="391"/>
                      <a:pt x="277" y="315"/>
                      <a:pt x="275" y="296"/>
                    </a:cubicBezTo>
                    <a:cubicBezTo>
                      <a:pt x="273" y="277"/>
                      <a:pt x="269" y="229"/>
                      <a:pt x="269" y="229"/>
                    </a:cubicBezTo>
                    <a:cubicBezTo>
                      <a:pt x="285" y="221"/>
                      <a:pt x="285" y="221"/>
                      <a:pt x="285" y="221"/>
                    </a:cubicBezTo>
                    <a:cubicBezTo>
                      <a:pt x="285" y="221"/>
                      <a:pt x="303" y="220"/>
                      <a:pt x="310" y="214"/>
                    </a:cubicBezTo>
                    <a:cubicBezTo>
                      <a:pt x="317" y="208"/>
                      <a:pt x="320" y="202"/>
                      <a:pt x="315" y="179"/>
                    </a:cubicBezTo>
                    <a:cubicBezTo>
                      <a:pt x="310" y="157"/>
                      <a:pt x="287" y="117"/>
                      <a:pt x="280" y="106"/>
                    </a:cubicBezTo>
                    <a:cubicBezTo>
                      <a:pt x="273" y="94"/>
                      <a:pt x="267" y="94"/>
                      <a:pt x="267" y="94"/>
                    </a:cubicBezTo>
                    <a:cubicBezTo>
                      <a:pt x="267" y="94"/>
                      <a:pt x="257" y="77"/>
                      <a:pt x="255" y="74"/>
                    </a:cubicBezTo>
                    <a:cubicBezTo>
                      <a:pt x="252" y="70"/>
                      <a:pt x="252" y="73"/>
                      <a:pt x="251" y="71"/>
                    </a:cubicBezTo>
                    <a:cubicBezTo>
                      <a:pt x="250" y="70"/>
                      <a:pt x="248" y="67"/>
                      <a:pt x="246" y="65"/>
                    </a:cubicBezTo>
                    <a:cubicBezTo>
                      <a:pt x="243" y="64"/>
                      <a:pt x="242" y="65"/>
                      <a:pt x="239" y="64"/>
                    </a:cubicBezTo>
                    <a:cubicBezTo>
                      <a:pt x="237" y="64"/>
                      <a:pt x="239" y="63"/>
                      <a:pt x="235" y="62"/>
                    </a:cubicBezTo>
                    <a:cubicBezTo>
                      <a:pt x="232" y="61"/>
                      <a:pt x="231" y="55"/>
                      <a:pt x="228" y="51"/>
                    </a:cubicBezTo>
                    <a:cubicBezTo>
                      <a:pt x="225" y="47"/>
                      <a:pt x="227" y="30"/>
                      <a:pt x="205" y="15"/>
                    </a:cubicBezTo>
                    <a:cubicBezTo>
                      <a:pt x="182" y="0"/>
                      <a:pt x="162" y="3"/>
                      <a:pt x="150" y="12"/>
                    </a:cubicBezTo>
                    <a:cubicBezTo>
                      <a:pt x="137" y="22"/>
                      <a:pt x="132" y="44"/>
                      <a:pt x="131" y="48"/>
                    </a:cubicBezTo>
                    <a:cubicBezTo>
                      <a:pt x="130" y="52"/>
                      <a:pt x="130" y="63"/>
                      <a:pt x="130" y="77"/>
                    </a:cubicBezTo>
                    <a:cubicBezTo>
                      <a:pt x="131" y="91"/>
                      <a:pt x="127" y="94"/>
                      <a:pt x="127" y="94"/>
                    </a:cubicBezTo>
                    <a:cubicBezTo>
                      <a:pt x="127" y="94"/>
                      <a:pt x="123" y="92"/>
                      <a:pt x="121" y="94"/>
                    </a:cubicBezTo>
                    <a:cubicBezTo>
                      <a:pt x="119" y="96"/>
                      <a:pt x="119" y="98"/>
                      <a:pt x="119" y="98"/>
                    </a:cubicBezTo>
                    <a:cubicBezTo>
                      <a:pt x="119" y="98"/>
                      <a:pt x="117" y="96"/>
                      <a:pt x="113" y="100"/>
                    </a:cubicBezTo>
                    <a:cubicBezTo>
                      <a:pt x="109" y="105"/>
                      <a:pt x="102" y="111"/>
                      <a:pt x="101" y="111"/>
                    </a:cubicBezTo>
                    <a:cubicBezTo>
                      <a:pt x="99" y="111"/>
                      <a:pt x="45" y="118"/>
                      <a:pt x="41" y="121"/>
                    </a:cubicBezTo>
                    <a:cubicBezTo>
                      <a:pt x="36" y="124"/>
                      <a:pt x="35" y="138"/>
                      <a:pt x="30" y="149"/>
                    </a:cubicBezTo>
                    <a:cubicBezTo>
                      <a:pt x="25" y="160"/>
                      <a:pt x="4" y="210"/>
                      <a:pt x="3" y="223"/>
                    </a:cubicBezTo>
                    <a:cubicBezTo>
                      <a:pt x="1" y="236"/>
                      <a:pt x="0" y="260"/>
                      <a:pt x="8" y="265"/>
                    </a:cubicBezTo>
                    <a:cubicBezTo>
                      <a:pt x="16" y="269"/>
                      <a:pt x="53" y="277"/>
                      <a:pt x="53" y="277"/>
                    </a:cubicBezTo>
                    <a:cubicBezTo>
                      <a:pt x="39" y="422"/>
                      <a:pt x="39" y="422"/>
                      <a:pt x="39" y="422"/>
                    </a:cubicBezTo>
                    <a:cubicBezTo>
                      <a:pt x="39" y="422"/>
                      <a:pt x="50" y="426"/>
                      <a:pt x="52" y="427"/>
                    </a:cubicBezTo>
                    <a:cubicBezTo>
                      <a:pt x="54" y="427"/>
                      <a:pt x="56" y="427"/>
                      <a:pt x="56" y="427"/>
                    </a:cubicBezTo>
                    <a:cubicBezTo>
                      <a:pt x="56" y="427"/>
                      <a:pt x="22" y="718"/>
                      <a:pt x="19" y="722"/>
                    </a:cubicBezTo>
                    <a:cubicBezTo>
                      <a:pt x="17" y="725"/>
                      <a:pt x="5" y="746"/>
                      <a:pt x="6" y="754"/>
                    </a:cubicBezTo>
                    <a:cubicBezTo>
                      <a:pt x="6" y="762"/>
                      <a:pt x="6" y="769"/>
                      <a:pt x="9" y="771"/>
                    </a:cubicBezTo>
                    <a:cubicBezTo>
                      <a:pt x="11" y="774"/>
                      <a:pt x="42" y="776"/>
                      <a:pt x="48" y="771"/>
                    </a:cubicBezTo>
                    <a:cubicBezTo>
                      <a:pt x="54" y="766"/>
                      <a:pt x="53" y="750"/>
                      <a:pt x="55" y="747"/>
                    </a:cubicBezTo>
                    <a:cubicBezTo>
                      <a:pt x="57" y="745"/>
                      <a:pt x="62" y="742"/>
                      <a:pt x="63" y="739"/>
                    </a:cubicBezTo>
                    <a:cubicBezTo>
                      <a:pt x="64" y="736"/>
                      <a:pt x="63" y="735"/>
                      <a:pt x="63" y="735"/>
                    </a:cubicBezTo>
                    <a:cubicBezTo>
                      <a:pt x="63" y="735"/>
                      <a:pt x="64" y="732"/>
                      <a:pt x="63" y="730"/>
                    </a:cubicBezTo>
                    <a:cubicBezTo>
                      <a:pt x="62" y="728"/>
                      <a:pt x="71" y="726"/>
                      <a:pt x="71" y="726"/>
                    </a:cubicBezTo>
                    <a:cubicBezTo>
                      <a:pt x="71" y="726"/>
                      <a:pt x="101" y="648"/>
                      <a:pt x="111" y="603"/>
                    </a:cubicBezTo>
                    <a:cubicBezTo>
                      <a:pt x="120" y="558"/>
                      <a:pt x="146" y="465"/>
                      <a:pt x="146" y="465"/>
                    </a:cubicBezTo>
                    <a:close/>
                    <a:moveTo>
                      <a:pt x="212" y="89"/>
                    </a:moveTo>
                    <a:cubicBezTo>
                      <a:pt x="212" y="89"/>
                      <a:pt x="209" y="93"/>
                      <a:pt x="213" y="94"/>
                    </a:cubicBezTo>
                    <a:cubicBezTo>
                      <a:pt x="217" y="96"/>
                      <a:pt x="219" y="94"/>
                      <a:pt x="219" y="94"/>
                    </a:cubicBezTo>
                    <a:cubicBezTo>
                      <a:pt x="219" y="94"/>
                      <a:pt x="221" y="100"/>
                      <a:pt x="226" y="103"/>
                    </a:cubicBezTo>
                    <a:cubicBezTo>
                      <a:pt x="231" y="106"/>
                      <a:pt x="240" y="109"/>
                      <a:pt x="240" y="109"/>
                    </a:cubicBezTo>
                    <a:cubicBezTo>
                      <a:pt x="240" y="109"/>
                      <a:pt x="238" y="112"/>
                      <a:pt x="238" y="113"/>
                    </a:cubicBezTo>
                    <a:cubicBezTo>
                      <a:pt x="238" y="114"/>
                      <a:pt x="240" y="117"/>
                      <a:pt x="244" y="127"/>
                    </a:cubicBezTo>
                    <a:cubicBezTo>
                      <a:pt x="248" y="136"/>
                      <a:pt x="258" y="150"/>
                      <a:pt x="258" y="152"/>
                    </a:cubicBezTo>
                    <a:cubicBezTo>
                      <a:pt x="258" y="154"/>
                      <a:pt x="260" y="158"/>
                      <a:pt x="260" y="158"/>
                    </a:cubicBezTo>
                    <a:cubicBezTo>
                      <a:pt x="260" y="158"/>
                      <a:pt x="258" y="157"/>
                      <a:pt x="257" y="156"/>
                    </a:cubicBezTo>
                    <a:cubicBezTo>
                      <a:pt x="257" y="155"/>
                      <a:pt x="257" y="152"/>
                      <a:pt x="251" y="149"/>
                    </a:cubicBezTo>
                    <a:cubicBezTo>
                      <a:pt x="246" y="146"/>
                      <a:pt x="244" y="143"/>
                      <a:pt x="239" y="139"/>
                    </a:cubicBezTo>
                    <a:cubicBezTo>
                      <a:pt x="234" y="135"/>
                      <a:pt x="229" y="135"/>
                      <a:pt x="226" y="135"/>
                    </a:cubicBezTo>
                    <a:cubicBezTo>
                      <a:pt x="223" y="135"/>
                      <a:pt x="209" y="132"/>
                      <a:pt x="202" y="130"/>
                    </a:cubicBezTo>
                    <a:cubicBezTo>
                      <a:pt x="195" y="128"/>
                      <a:pt x="181" y="125"/>
                      <a:pt x="181" y="125"/>
                    </a:cubicBezTo>
                    <a:cubicBezTo>
                      <a:pt x="181" y="125"/>
                      <a:pt x="194" y="114"/>
                      <a:pt x="195" y="110"/>
                    </a:cubicBezTo>
                    <a:cubicBezTo>
                      <a:pt x="196" y="106"/>
                      <a:pt x="200" y="104"/>
                      <a:pt x="202" y="101"/>
                    </a:cubicBezTo>
                    <a:cubicBezTo>
                      <a:pt x="204" y="99"/>
                      <a:pt x="206" y="88"/>
                      <a:pt x="206" y="87"/>
                    </a:cubicBezTo>
                    <a:cubicBezTo>
                      <a:pt x="206" y="86"/>
                      <a:pt x="208" y="86"/>
                      <a:pt x="208" y="86"/>
                    </a:cubicBezTo>
                    <a:cubicBezTo>
                      <a:pt x="212" y="89"/>
                      <a:pt x="212" y="89"/>
                      <a:pt x="212" y="89"/>
                    </a:cubicBezTo>
                    <a:close/>
                    <a:moveTo>
                      <a:pt x="215" y="70"/>
                    </a:moveTo>
                    <a:cubicBezTo>
                      <a:pt x="215" y="70"/>
                      <a:pt x="222" y="69"/>
                      <a:pt x="224" y="69"/>
                    </a:cubicBezTo>
                    <a:cubicBezTo>
                      <a:pt x="227" y="69"/>
                      <a:pt x="225" y="71"/>
                      <a:pt x="222" y="74"/>
                    </a:cubicBezTo>
                    <a:cubicBezTo>
                      <a:pt x="220" y="76"/>
                      <a:pt x="217" y="80"/>
                      <a:pt x="217" y="79"/>
                    </a:cubicBezTo>
                    <a:cubicBezTo>
                      <a:pt x="216" y="78"/>
                      <a:pt x="213" y="76"/>
                      <a:pt x="213" y="76"/>
                    </a:cubicBezTo>
                    <a:cubicBezTo>
                      <a:pt x="215" y="70"/>
                      <a:pt x="215" y="70"/>
                      <a:pt x="215" y="70"/>
                    </a:cubicBezTo>
                    <a:close/>
                    <a:moveTo>
                      <a:pt x="229" y="81"/>
                    </a:moveTo>
                    <a:cubicBezTo>
                      <a:pt x="229" y="81"/>
                      <a:pt x="226" y="85"/>
                      <a:pt x="226" y="85"/>
                    </a:cubicBezTo>
                    <a:cubicBezTo>
                      <a:pt x="225" y="85"/>
                      <a:pt x="225" y="84"/>
                      <a:pt x="229"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0">
                <a:extLst>
                  <a:ext uri="{FF2B5EF4-FFF2-40B4-BE49-F238E27FC236}">
                    <a16:creationId xmlns="" xmlns:a16="http://schemas.microsoft.com/office/drawing/2014/main" id="{349B823C-5776-4DD5-A0F7-DE83566E2CEC}"/>
                  </a:ext>
                </a:extLst>
              </p:cNvPr>
              <p:cNvSpPr>
                <a:spLocks noEditPoints="1"/>
              </p:cNvSpPr>
              <p:nvPr/>
            </p:nvSpPr>
            <p:spPr bwMode="auto">
              <a:xfrm>
                <a:off x="3417888" y="2109788"/>
                <a:ext cx="315913" cy="304800"/>
              </a:xfrm>
              <a:custGeom>
                <a:avLst/>
                <a:gdLst>
                  <a:gd name="T0" fmla="*/ 144 w 149"/>
                  <a:gd name="T1" fmla="*/ 94 h 144"/>
                  <a:gd name="T2" fmla="*/ 132 w 149"/>
                  <a:gd name="T3" fmla="*/ 74 h 144"/>
                  <a:gd name="T4" fmla="*/ 128 w 149"/>
                  <a:gd name="T5" fmla="*/ 71 h 144"/>
                  <a:gd name="T6" fmla="*/ 123 w 149"/>
                  <a:gd name="T7" fmla="*/ 65 h 144"/>
                  <a:gd name="T8" fmla="*/ 116 w 149"/>
                  <a:gd name="T9" fmla="*/ 64 h 144"/>
                  <a:gd name="T10" fmla="*/ 112 w 149"/>
                  <a:gd name="T11" fmla="*/ 62 h 144"/>
                  <a:gd name="T12" fmla="*/ 105 w 149"/>
                  <a:gd name="T13" fmla="*/ 51 h 144"/>
                  <a:gd name="T14" fmla="*/ 82 w 149"/>
                  <a:gd name="T15" fmla="*/ 15 h 144"/>
                  <a:gd name="T16" fmla="*/ 27 w 149"/>
                  <a:gd name="T17" fmla="*/ 12 h 144"/>
                  <a:gd name="T18" fmla="*/ 8 w 149"/>
                  <a:gd name="T19" fmla="*/ 48 h 144"/>
                  <a:gd name="T20" fmla="*/ 7 w 149"/>
                  <a:gd name="T21" fmla="*/ 77 h 144"/>
                  <a:gd name="T22" fmla="*/ 4 w 149"/>
                  <a:gd name="T23" fmla="*/ 94 h 144"/>
                  <a:gd name="T24" fmla="*/ 1 w 149"/>
                  <a:gd name="T25" fmla="*/ 100 h 144"/>
                  <a:gd name="T26" fmla="*/ 3 w 149"/>
                  <a:gd name="T27" fmla="*/ 105 h 144"/>
                  <a:gd name="T28" fmla="*/ 17 w 149"/>
                  <a:gd name="T29" fmla="*/ 121 h 144"/>
                  <a:gd name="T30" fmla="*/ 27 w 149"/>
                  <a:gd name="T31" fmla="*/ 134 h 144"/>
                  <a:gd name="T32" fmla="*/ 35 w 149"/>
                  <a:gd name="T33" fmla="*/ 143 h 144"/>
                  <a:gd name="T34" fmla="*/ 38 w 149"/>
                  <a:gd name="T35" fmla="*/ 136 h 144"/>
                  <a:gd name="T36" fmla="*/ 47 w 149"/>
                  <a:gd name="T37" fmla="*/ 132 h 144"/>
                  <a:gd name="T38" fmla="*/ 53 w 149"/>
                  <a:gd name="T39" fmla="*/ 129 h 144"/>
                  <a:gd name="T40" fmla="*/ 57 w 149"/>
                  <a:gd name="T41" fmla="*/ 127 h 144"/>
                  <a:gd name="T42" fmla="*/ 58 w 149"/>
                  <a:gd name="T43" fmla="*/ 125 h 144"/>
                  <a:gd name="T44" fmla="*/ 72 w 149"/>
                  <a:gd name="T45" fmla="*/ 110 h 144"/>
                  <a:gd name="T46" fmla="*/ 79 w 149"/>
                  <a:gd name="T47" fmla="*/ 101 h 144"/>
                  <a:gd name="T48" fmla="*/ 83 w 149"/>
                  <a:gd name="T49" fmla="*/ 87 h 144"/>
                  <a:gd name="T50" fmla="*/ 85 w 149"/>
                  <a:gd name="T51" fmla="*/ 86 h 144"/>
                  <a:gd name="T52" fmla="*/ 89 w 149"/>
                  <a:gd name="T53" fmla="*/ 89 h 144"/>
                  <a:gd name="T54" fmla="*/ 90 w 149"/>
                  <a:gd name="T55" fmla="*/ 94 h 144"/>
                  <a:gd name="T56" fmla="*/ 96 w 149"/>
                  <a:gd name="T57" fmla="*/ 94 h 144"/>
                  <a:gd name="T58" fmla="*/ 103 w 149"/>
                  <a:gd name="T59" fmla="*/ 103 h 144"/>
                  <a:gd name="T60" fmla="*/ 117 w 149"/>
                  <a:gd name="T61" fmla="*/ 109 h 144"/>
                  <a:gd name="T62" fmla="*/ 123 w 149"/>
                  <a:gd name="T63" fmla="*/ 111 h 144"/>
                  <a:gd name="T64" fmla="*/ 134 w 149"/>
                  <a:gd name="T65" fmla="*/ 112 h 144"/>
                  <a:gd name="T66" fmla="*/ 146 w 149"/>
                  <a:gd name="T67" fmla="*/ 108 h 144"/>
                  <a:gd name="T68" fmla="*/ 148 w 149"/>
                  <a:gd name="T69" fmla="*/ 100 h 144"/>
                  <a:gd name="T70" fmla="*/ 144 w 149"/>
                  <a:gd name="T71" fmla="*/ 94 h 144"/>
                  <a:gd name="T72" fmla="*/ 92 w 149"/>
                  <a:gd name="T73" fmla="*/ 70 h 144"/>
                  <a:gd name="T74" fmla="*/ 101 w 149"/>
                  <a:gd name="T75" fmla="*/ 69 h 144"/>
                  <a:gd name="T76" fmla="*/ 99 w 149"/>
                  <a:gd name="T77" fmla="*/ 74 h 144"/>
                  <a:gd name="T78" fmla="*/ 94 w 149"/>
                  <a:gd name="T79" fmla="*/ 79 h 144"/>
                  <a:gd name="T80" fmla="*/ 90 w 149"/>
                  <a:gd name="T81" fmla="*/ 76 h 144"/>
                  <a:gd name="T82" fmla="*/ 92 w 149"/>
                  <a:gd name="T83" fmla="*/ 70 h 144"/>
                  <a:gd name="T84" fmla="*/ 106 w 149"/>
                  <a:gd name="T85" fmla="*/ 81 h 144"/>
                  <a:gd name="T86" fmla="*/ 103 w 149"/>
                  <a:gd name="T87" fmla="*/ 85 h 144"/>
                  <a:gd name="T88" fmla="*/ 106 w 149"/>
                  <a:gd name="T89"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44">
                    <a:moveTo>
                      <a:pt x="144" y="94"/>
                    </a:moveTo>
                    <a:cubicBezTo>
                      <a:pt x="144" y="94"/>
                      <a:pt x="134" y="77"/>
                      <a:pt x="132" y="74"/>
                    </a:cubicBezTo>
                    <a:cubicBezTo>
                      <a:pt x="129" y="70"/>
                      <a:pt x="129" y="73"/>
                      <a:pt x="128" y="71"/>
                    </a:cubicBezTo>
                    <a:cubicBezTo>
                      <a:pt x="127" y="70"/>
                      <a:pt x="125" y="67"/>
                      <a:pt x="123" y="65"/>
                    </a:cubicBezTo>
                    <a:cubicBezTo>
                      <a:pt x="120" y="64"/>
                      <a:pt x="119" y="65"/>
                      <a:pt x="116" y="64"/>
                    </a:cubicBezTo>
                    <a:cubicBezTo>
                      <a:pt x="114" y="64"/>
                      <a:pt x="116" y="63"/>
                      <a:pt x="112" y="62"/>
                    </a:cubicBezTo>
                    <a:cubicBezTo>
                      <a:pt x="109" y="61"/>
                      <a:pt x="108" y="55"/>
                      <a:pt x="105" y="51"/>
                    </a:cubicBezTo>
                    <a:cubicBezTo>
                      <a:pt x="102" y="47"/>
                      <a:pt x="104" y="30"/>
                      <a:pt x="82" y="15"/>
                    </a:cubicBezTo>
                    <a:cubicBezTo>
                      <a:pt x="59" y="0"/>
                      <a:pt x="39" y="3"/>
                      <a:pt x="27" y="12"/>
                    </a:cubicBezTo>
                    <a:cubicBezTo>
                      <a:pt x="14" y="22"/>
                      <a:pt x="9" y="44"/>
                      <a:pt x="8" y="48"/>
                    </a:cubicBezTo>
                    <a:cubicBezTo>
                      <a:pt x="7" y="52"/>
                      <a:pt x="7" y="63"/>
                      <a:pt x="7" y="77"/>
                    </a:cubicBezTo>
                    <a:cubicBezTo>
                      <a:pt x="8" y="91"/>
                      <a:pt x="4" y="94"/>
                      <a:pt x="4" y="94"/>
                    </a:cubicBezTo>
                    <a:cubicBezTo>
                      <a:pt x="4" y="94"/>
                      <a:pt x="2" y="100"/>
                      <a:pt x="1" y="100"/>
                    </a:cubicBezTo>
                    <a:cubicBezTo>
                      <a:pt x="1" y="101"/>
                      <a:pt x="0" y="102"/>
                      <a:pt x="3" y="105"/>
                    </a:cubicBezTo>
                    <a:cubicBezTo>
                      <a:pt x="6" y="108"/>
                      <a:pt x="15" y="120"/>
                      <a:pt x="17" y="121"/>
                    </a:cubicBezTo>
                    <a:cubicBezTo>
                      <a:pt x="18" y="123"/>
                      <a:pt x="26" y="133"/>
                      <a:pt x="27" y="134"/>
                    </a:cubicBezTo>
                    <a:cubicBezTo>
                      <a:pt x="27" y="135"/>
                      <a:pt x="35" y="142"/>
                      <a:pt x="35" y="143"/>
                    </a:cubicBezTo>
                    <a:cubicBezTo>
                      <a:pt x="36" y="144"/>
                      <a:pt x="37" y="138"/>
                      <a:pt x="38" y="136"/>
                    </a:cubicBezTo>
                    <a:cubicBezTo>
                      <a:pt x="40" y="135"/>
                      <a:pt x="45" y="132"/>
                      <a:pt x="47" y="132"/>
                    </a:cubicBezTo>
                    <a:cubicBezTo>
                      <a:pt x="49" y="132"/>
                      <a:pt x="52" y="130"/>
                      <a:pt x="53" y="129"/>
                    </a:cubicBezTo>
                    <a:cubicBezTo>
                      <a:pt x="54" y="129"/>
                      <a:pt x="57" y="128"/>
                      <a:pt x="57" y="127"/>
                    </a:cubicBezTo>
                    <a:cubicBezTo>
                      <a:pt x="58" y="126"/>
                      <a:pt x="58" y="125"/>
                      <a:pt x="58" y="125"/>
                    </a:cubicBezTo>
                    <a:cubicBezTo>
                      <a:pt x="58" y="125"/>
                      <a:pt x="71" y="114"/>
                      <a:pt x="72" y="110"/>
                    </a:cubicBezTo>
                    <a:cubicBezTo>
                      <a:pt x="73" y="106"/>
                      <a:pt x="77" y="104"/>
                      <a:pt x="79" y="101"/>
                    </a:cubicBezTo>
                    <a:cubicBezTo>
                      <a:pt x="81" y="99"/>
                      <a:pt x="83" y="88"/>
                      <a:pt x="83" y="87"/>
                    </a:cubicBezTo>
                    <a:cubicBezTo>
                      <a:pt x="83" y="86"/>
                      <a:pt x="85" y="86"/>
                      <a:pt x="85" y="86"/>
                    </a:cubicBezTo>
                    <a:cubicBezTo>
                      <a:pt x="89" y="89"/>
                      <a:pt x="89" y="89"/>
                      <a:pt x="89" y="89"/>
                    </a:cubicBezTo>
                    <a:cubicBezTo>
                      <a:pt x="89" y="89"/>
                      <a:pt x="86" y="93"/>
                      <a:pt x="90" y="94"/>
                    </a:cubicBezTo>
                    <a:cubicBezTo>
                      <a:pt x="94" y="96"/>
                      <a:pt x="96" y="94"/>
                      <a:pt x="96" y="94"/>
                    </a:cubicBezTo>
                    <a:cubicBezTo>
                      <a:pt x="96" y="94"/>
                      <a:pt x="98" y="100"/>
                      <a:pt x="103" y="103"/>
                    </a:cubicBezTo>
                    <a:cubicBezTo>
                      <a:pt x="108" y="106"/>
                      <a:pt x="117" y="109"/>
                      <a:pt x="117" y="109"/>
                    </a:cubicBezTo>
                    <a:cubicBezTo>
                      <a:pt x="117" y="109"/>
                      <a:pt x="118" y="110"/>
                      <a:pt x="123" y="111"/>
                    </a:cubicBezTo>
                    <a:cubicBezTo>
                      <a:pt x="128" y="112"/>
                      <a:pt x="131" y="113"/>
                      <a:pt x="134" y="112"/>
                    </a:cubicBezTo>
                    <a:cubicBezTo>
                      <a:pt x="137" y="110"/>
                      <a:pt x="143" y="108"/>
                      <a:pt x="146" y="108"/>
                    </a:cubicBezTo>
                    <a:cubicBezTo>
                      <a:pt x="148" y="108"/>
                      <a:pt x="149" y="101"/>
                      <a:pt x="148" y="100"/>
                    </a:cubicBezTo>
                    <a:cubicBezTo>
                      <a:pt x="148" y="99"/>
                      <a:pt x="144" y="96"/>
                      <a:pt x="144" y="94"/>
                    </a:cubicBezTo>
                    <a:close/>
                    <a:moveTo>
                      <a:pt x="92" y="70"/>
                    </a:moveTo>
                    <a:cubicBezTo>
                      <a:pt x="92" y="70"/>
                      <a:pt x="99" y="69"/>
                      <a:pt x="101" y="69"/>
                    </a:cubicBezTo>
                    <a:cubicBezTo>
                      <a:pt x="104" y="69"/>
                      <a:pt x="102" y="71"/>
                      <a:pt x="99" y="74"/>
                    </a:cubicBezTo>
                    <a:cubicBezTo>
                      <a:pt x="97" y="76"/>
                      <a:pt x="94" y="80"/>
                      <a:pt x="94" y="79"/>
                    </a:cubicBezTo>
                    <a:cubicBezTo>
                      <a:pt x="93" y="78"/>
                      <a:pt x="90" y="76"/>
                      <a:pt x="90" y="76"/>
                    </a:cubicBezTo>
                    <a:cubicBezTo>
                      <a:pt x="92" y="70"/>
                      <a:pt x="92" y="70"/>
                      <a:pt x="92" y="70"/>
                    </a:cubicBezTo>
                    <a:close/>
                    <a:moveTo>
                      <a:pt x="106" y="81"/>
                    </a:moveTo>
                    <a:cubicBezTo>
                      <a:pt x="106" y="81"/>
                      <a:pt x="103" y="85"/>
                      <a:pt x="103" y="85"/>
                    </a:cubicBezTo>
                    <a:cubicBezTo>
                      <a:pt x="102" y="85"/>
                      <a:pt x="102" y="84"/>
                      <a:pt x="106"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1">
                <a:extLst>
                  <a:ext uri="{FF2B5EF4-FFF2-40B4-BE49-F238E27FC236}">
                    <a16:creationId xmlns="" xmlns:a16="http://schemas.microsoft.com/office/drawing/2014/main" id="{7DC49B0F-D34A-4E16-947A-49B19A114249}"/>
                  </a:ext>
                </a:extLst>
              </p:cNvPr>
              <p:cNvSpPr>
                <a:spLocks/>
              </p:cNvSpPr>
              <p:nvPr/>
            </p:nvSpPr>
            <p:spPr bwMode="auto">
              <a:xfrm>
                <a:off x="3430588" y="2109788"/>
                <a:ext cx="207963" cy="193675"/>
              </a:xfrm>
              <a:custGeom>
                <a:avLst/>
                <a:gdLst>
                  <a:gd name="T0" fmla="*/ 98 w 98"/>
                  <a:gd name="T1" fmla="*/ 50 h 91"/>
                  <a:gd name="T2" fmla="*/ 76 w 98"/>
                  <a:gd name="T3" fmla="*/ 15 h 91"/>
                  <a:gd name="T4" fmla="*/ 21 w 98"/>
                  <a:gd name="T5" fmla="*/ 12 h 91"/>
                  <a:gd name="T6" fmla="*/ 2 w 98"/>
                  <a:gd name="T7" fmla="*/ 48 h 91"/>
                  <a:gd name="T8" fmla="*/ 1 w 98"/>
                  <a:gd name="T9" fmla="*/ 77 h 91"/>
                  <a:gd name="T10" fmla="*/ 0 w 98"/>
                  <a:gd name="T11" fmla="*/ 91 h 91"/>
                  <a:gd name="T12" fmla="*/ 6 w 98"/>
                  <a:gd name="T13" fmla="*/ 86 h 91"/>
                  <a:gd name="T14" fmla="*/ 2 w 98"/>
                  <a:gd name="T15" fmla="*/ 58 h 91"/>
                  <a:gd name="T16" fmla="*/ 10 w 98"/>
                  <a:gd name="T17" fmla="*/ 46 h 91"/>
                  <a:gd name="T18" fmla="*/ 18 w 98"/>
                  <a:gd name="T19" fmla="*/ 53 h 91"/>
                  <a:gd name="T20" fmla="*/ 20 w 98"/>
                  <a:gd name="T21" fmla="*/ 66 h 91"/>
                  <a:gd name="T22" fmla="*/ 21 w 98"/>
                  <a:gd name="T23" fmla="*/ 71 h 91"/>
                  <a:gd name="T24" fmla="*/ 32 w 98"/>
                  <a:gd name="T25" fmla="*/ 57 h 91"/>
                  <a:gd name="T26" fmla="*/ 42 w 98"/>
                  <a:gd name="T27" fmla="*/ 53 h 91"/>
                  <a:gd name="T28" fmla="*/ 49 w 98"/>
                  <a:gd name="T29" fmla="*/ 49 h 91"/>
                  <a:gd name="T30" fmla="*/ 54 w 98"/>
                  <a:gd name="T31" fmla="*/ 40 h 91"/>
                  <a:gd name="T32" fmla="*/ 62 w 98"/>
                  <a:gd name="T33" fmla="*/ 41 h 91"/>
                  <a:gd name="T34" fmla="*/ 57 w 98"/>
                  <a:gd name="T35" fmla="*/ 48 h 91"/>
                  <a:gd name="T36" fmla="*/ 65 w 98"/>
                  <a:gd name="T37" fmla="*/ 46 h 91"/>
                  <a:gd name="T38" fmla="*/ 66 w 98"/>
                  <a:gd name="T39" fmla="*/ 52 h 91"/>
                  <a:gd name="T40" fmla="*/ 71 w 98"/>
                  <a:gd name="T41" fmla="*/ 53 h 91"/>
                  <a:gd name="T42" fmla="*/ 72 w 98"/>
                  <a:gd name="T43" fmla="*/ 55 h 91"/>
                  <a:gd name="T44" fmla="*/ 76 w 98"/>
                  <a:gd name="T45" fmla="*/ 56 h 91"/>
                  <a:gd name="T46" fmla="*/ 76 w 98"/>
                  <a:gd name="T47" fmla="*/ 59 h 91"/>
                  <a:gd name="T48" fmla="*/ 81 w 98"/>
                  <a:gd name="T49" fmla="*/ 58 h 91"/>
                  <a:gd name="T50" fmla="*/ 83 w 98"/>
                  <a:gd name="T51" fmla="*/ 61 h 91"/>
                  <a:gd name="T52" fmla="*/ 87 w 98"/>
                  <a:gd name="T53" fmla="*/ 62 h 91"/>
                  <a:gd name="T54" fmla="*/ 94 w 98"/>
                  <a:gd name="T55" fmla="*/ 62 h 91"/>
                  <a:gd name="T56" fmla="*/ 95 w 98"/>
                  <a:gd name="T57" fmla="*/ 56 h 91"/>
                  <a:gd name="T58" fmla="*/ 98 w 98"/>
                  <a:gd name="T59" fmla="*/ 5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1">
                    <a:moveTo>
                      <a:pt x="98" y="50"/>
                    </a:moveTo>
                    <a:cubicBezTo>
                      <a:pt x="96" y="44"/>
                      <a:pt x="96" y="28"/>
                      <a:pt x="76" y="15"/>
                    </a:cubicBezTo>
                    <a:cubicBezTo>
                      <a:pt x="53" y="0"/>
                      <a:pt x="33" y="3"/>
                      <a:pt x="21" y="12"/>
                    </a:cubicBezTo>
                    <a:cubicBezTo>
                      <a:pt x="8" y="22"/>
                      <a:pt x="3" y="44"/>
                      <a:pt x="2" y="48"/>
                    </a:cubicBezTo>
                    <a:cubicBezTo>
                      <a:pt x="1" y="52"/>
                      <a:pt x="1" y="63"/>
                      <a:pt x="1" y="77"/>
                    </a:cubicBezTo>
                    <a:cubicBezTo>
                      <a:pt x="1" y="83"/>
                      <a:pt x="1" y="88"/>
                      <a:pt x="0" y="91"/>
                    </a:cubicBezTo>
                    <a:cubicBezTo>
                      <a:pt x="0" y="91"/>
                      <a:pt x="5" y="90"/>
                      <a:pt x="6" y="86"/>
                    </a:cubicBezTo>
                    <a:cubicBezTo>
                      <a:pt x="7" y="81"/>
                      <a:pt x="0" y="70"/>
                      <a:pt x="2" y="58"/>
                    </a:cubicBezTo>
                    <a:cubicBezTo>
                      <a:pt x="5" y="46"/>
                      <a:pt x="8" y="45"/>
                      <a:pt x="10" y="46"/>
                    </a:cubicBezTo>
                    <a:cubicBezTo>
                      <a:pt x="12" y="46"/>
                      <a:pt x="17" y="48"/>
                      <a:pt x="18" y="53"/>
                    </a:cubicBezTo>
                    <a:cubicBezTo>
                      <a:pt x="20" y="58"/>
                      <a:pt x="21" y="64"/>
                      <a:pt x="20" y="66"/>
                    </a:cubicBezTo>
                    <a:cubicBezTo>
                      <a:pt x="19" y="68"/>
                      <a:pt x="19" y="72"/>
                      <a:pt x="21" y="71"/>
                    </a:cubicBezTo>
                    <a:cubicBezTo>
                      <a:pt x="24" y="70"/>
                      <a:pt x="28" y="60"/>
                      <a:pt x="32" y="57"/>
                    </a:cubicBezTo>
                    <a:cubicBezTo>
                      <a:pt x="35" y="54"/>
                      <a:pt x="39" y="53"/>
                      <a:pt x="42" y="53"/>
                    </a:cubicBezTo>
                    <a:cubicBezTo>
                      <a:pt x="46" y="53"/>
                      <a:pt x="49" y="53"/>
                      <a:pt x="49" y="49"/>
                    </a:cubicBezTo>
                    <a:cubicBezTo>
                      <a:pt x="49" y="46"/>
                      <a:pt x="52" y="41"/>
                      <a:pt x="54" y="40"/>
                    </a:cubicBezTo>
                    <a:cubicBezTo>
                      <a:pt x="56" y="40"/>
                      <a:pt x="60" y="42"/>
                      <a:pt x="62" y="41"/>
                    </a:cubicBezTo>
                    <a:cubicBezTo>
                      <a:pt x="63" y="40"/>
                      <a:pt x="52" y="49"/>
                      <a:pt x="57" y="48"/>
                    </a:cubicBezTo>
                    <a:cubicBezTo>
                      <a:pt x="61" y="46"/>
                      <a:pt x="67" y="43"/>
                      <a:pt x="65" y="46"/>
                    </a:cubicBezTo>
                    <a:cubicBezTo>
                      <a:pt x="63" y="50"/>
                      <a:pt x="60" y="55"/>
                      <a:pt x="66" y="52"/>
                    </a:cubicBezTo>
                    <a:cubicBezTo>
                      <a:pt x="72" y="48"/>
                      <a:pt x="72" y="50"/>
                      <a:pt x="71" y="53"/>
                    </a:cubicBezTo>
                    <a:cubicBezTo>
                      <a:pt x="70" y="55"/>
                      <a:pt x="69" y="58"/>
                      <a:pt x="72" y="55"/>
                    </a:cubicBezTo>
                    <a:cubicBezTo>
                      <a:pt x="76" y="52"/>
                      <a:pt x="78" y="52"/>
                      <a:pt x="76" y="56"/>
                    </a:cubicBezTo>
                    <a:cubicBezTo>
                      <a:pt x="74" y="59"/>
                      <a:pt x="73" y="61"/>
                      <a:pt x="76" y="59"/>
                    </a:cubicBezTo>
                    <a:cubicBezTo>
                      <a:pt x="79" y="56"/>
                      <a:pt x="81" y="57"/>
                      <a:pt x="81" y="58"/>
                    </a:cubicBezTo>
                    <a:cubicBezTo>
                      <a:pt x="81" y="60"/>
                      <a:pt x="80" y="63"/>
                      <a:pt x="83" y="61"/>
                    </a:cubicBezTo>
                    <a:cubicBezTo>
                      <a:pt x="87" y="59"/>
                      <a:pt x="87" y="61"/>
                      <a:pt x="87" y="62"/>
                    </a:cubicBezTo>
                    <a:cubicBezTo>
                      <a:pt x="88" y="62"/>
                      <a:pt x="93" y="63"/>
                      <a:pt x="94" y="62"/>
                    </a:cubicBezTo>
                    <a:cubicBezTo>
                      <a:pt x="96" y="61"/>
                      <a:pt x="96" y="57"/>
                      <a:pt x="95" y="56"/>
                    </a:cubicBezTo>
                    <a:cubicBezTo>
                      <a:pt x="94" y="55"/>
                      <a:pt x="95" y="49"/>
                      <a:pt x="98"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a:extLst>
                  <a:ext uri="{FF2B5EF4-FFF2-40B4-BE49-F238E27FC236}">
                    <a16:creationId xmlns="" xmlns:a16="http://schemas.microsoft.com/office/drawing/2014/main" id="{F7A6C833-2A60-48B9-8026-F7DFA5E655A5}"/>
                  </a:ext>
                </a:extLst>
              </p:cNvPr>
              <p:cNvSpPr>
                <a:spLocks noEditPoints="1"/>
              </p:cNvSpPr>
              <p:nvPr/>
            </p:nvSpPr>
            <p:spPr bwMode="auto">
              <a:xfrm>
                <a:off x="3665538" y="2316163"/>
                <a:ext cx="77788" cy="34925"/>
              </a:xfrm>
              <a:custGeom>
                <a:avLst/>
                <a:gdLst>
                  <a:gd name="T0" fmla="*/ 1 w 36"/>
                  <a:gd name="T1" fmla="*/ 12 h 17"/>
                  <a:gd name="T2" fmla="*/ 2 w 36"/>
                  <a:gd name="T3" fmla="*/ 16 h 17"/>
                  <a:gd name="T4" fmla="*/ 13 w 36"/>
                  <a:gd name="T5" fmla="*/ 15 h 17"/>
                  <a:gd name="T6" fmla="*/ 6 w 36"/>
                  <a:gd name="T7" fmla="*/ 14 h 17"/>
                  <a:gd name="T8" fmla="*/ 1 w 36"/>
                  <a:gd name="T9" fmla="*/ 12 h 17"/>
                  <a:gd name="T10" fmla="*/ 18 w 36"/>
                  <a:gd name="T11" fmla="*/ 14 h 17"/>
                  <a:gd name="T12" fmla="*/ 25 w 36"/>
                  <a:gd name="T13" fmla="*/ 15 h 17"/>
                  <a:gd name="T14" fmla="*/ 35 w 36"/>
                  <a:gd name="T15" fmla="*/ 11 h 17"/>
                  <a:gd name="T16" fmla="*/ 29 w 36"/>
                  <a:gd name="T17" fmla="*/ 0 h 17"/>
                  <a:gd name="T18" fmla="*/ 29 w 36"/>
                  <a:gd name="T19" fmla="*/ 0 h 17"/>
                  <a:gd name="T20" fmla="*/ 31 w 36"/>
                  <a:gd name="T21" fmla="*/ 3 h 17"/>
                  <a:gd name="T22" fmla="*/ 29 w 36"/>
                  <a:gd name="T23" fmla="*/ 11 h 17"/>
                  <a:gd name="T24" fmla="*/ 18 w 36"/>
                  <a:gd name="T2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7">
                    <a:moveTo>
                      <a:pt x="1" y="12"/>
                    </a:moveTo>
                    <a:cubicBezTo>
                      <a:pt x="0" y="14"/>
                      <a:pt x="0" y="15"/>
                      <a:pt x="2" y="16"/>
                    </a:cubicBezTo>
                    <a:cubicBezTo>
                      <a:pt x="4" y="17"/>
                      <a:pt x="9" y="16"/>
                      <a:pt x="13" y="15"/>
                    </a:cubicBezTo>
                    <a:cubicBezTo>
                      <a:pt x="11" y="15"/>
                      <a:pt x="9" y="14"/>
                      <a:pt x="6" y="14"/>
                    </a:cubicBezTo>
                    <a:cubicBezTo>
                      <a:pt x="3" y="13"/>
                      <a:pt x="2" y="13"/>
                      <a:pt x="1" y="12"/>
                    </a:cubicBezTo>
                    <a:close/>
                    <a:moveTo>
                      <a:pt x="18" y="14"/>
                    </a:moveTo>
                    <a:cubicBezTo>
                      <a:pt x="20" y="15"/>
                      <a:pt x="22" y="15"/>
                      <a:pt x="25" y="15"/>
                    </a:cubicBezTo>
                    <a:cubicBezTo>
                      <a:pt x="30" y="15"/>
                      <a:pt x="34" y="12"/>
                      <a:pt x="35" y="11"/>
                    </a:cubicBezTo>
                    <a:cubicBezTo>
                      <a:pt x="36" y="9"/>
                      <a:pt x="35" y="1"/>
                      <a:pt x="29" y="0"/>
                    </a:cubicBezTo>
                    <a:cubicBezTo>
                      <a:pt x="29" y="0"/>
                      <a:pt x="29" y="0"/>
                      <a:pt x="29" y="0"/>
                    </a:cubicBezTo>
                    <a:cubicBezTo>
                      <a:pt x="30" y="1"/>
                      <a:pt x="31" y="2"/>
                      <a:pt x="31" y="3"/>
                    </a:cubicBezTo>
                    <a:cubicBezTo>
                      <a:pt x="32" y="4"/>
                      <a:pt x="31" y="11"/>
                      <a:pt x="29" y="11"/>
                    </a:cubicBezTo>
                    <a:cubicBezTo>
                      <a:pt x="26" y="11"/>
                      <a:pt x="21" y="13"/>
                      <a:pt x="18" y="14"/>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4">
                <a:extLst>
                  <a:ext uri="{FF2B5EF4-FFF2-40B4-BE49-F238E27FC236}">
                    <a16:creationId xmlns="" xmlns:a16="http://schemas.microsoft.com/office/drawing/2014/main" id="{324F070E-EEE3-4A1E-8D08-B6802F8F2A2A}"/>
                  </a:ext>
                </a:extLst>
              </p:cNvPr>
              <p:cNvSpPr>
                <a:spLocks/>
              </p:cNvSpPr>
              <p:nvPr/>
            </p:nvSpPr>
            <p:spPr bwMode="auto">
              <a:xfrm>
                <a:off x="3511550" y="2493963"/>
                <a:ext cx="322263" cy="146050"/>
              </a:xfrm>
              <a:custGeom>
                <a:avLst/>
                <a:gdLst>
                  <a:gd name="T0" fmla="*/ 6 w 152"/>
                  <a:gd name="T1" fmla="*/ 53 h 69"/>
                  <a:gd name="T2" fmla="*/ 16 w 152"/>
                  <a:gd name="T3" fmla="*/ 50 h 69"/>
                  <a:gd name="T4" fmla="*/ 75 w 152"/>
                  <a:gd name="T5" fmla="*/ 10 h 69"/>
                  <a:gd name="T6" fmla="*/ 89 w 152"/>
                  <a:gd name="T7" fmla="*/ 0 h 69"/>
                  <a:gd name="T8" fmla="*/ 152 w 152"/>
                  <a:gd name="T9" fmla="*/ 19 h 69"/>
                  <a:gd name="T10" fmla="*/ 152 w 152"/>
                  <a:gd name="T11" fmla="*/ 23 h 69"/>
                  <a:gd name="T12" fmla="*/ 117 w 152"/>
                  <a:gd name="T13" fmla="*/ 41 h 69"/>
                  <a:gd name="T14" fmla="*/ 49 w 152"/>
                  <a:gd name="T15" fmla="*/ 69 h 69"/>
                  <a:gd name="T16" fmla="*/ 6 w 152"/>
                  <a:gd name="T17"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9">
                    <a:moveTo>
                      <a:pt x="6" y="53"/>
                    </a:moveTo>
                    <a:cubicBezTo>
                      <a:pt x="9" y="52"/>
                      <a:pt x="12" y="51"/>
                      <a:pt x="16" y="50"/>
                    </a:cubicBezTo>
                    <a:cubicBezTo>
                      <a:pt x="16" y="50"/>
                      <a:pt x="70" y="14"/>
                      <a:pt x="75" y="10"/>
                    </a:cubicBezTo>
                    <a:cubicBezTo>
                      <a:pt x="80" y="7"/>
                      <a:pt x="89" y="0"/>
                      <a:pt x="89" y="0"/>
                    </a:cubicBezTo>
                    <a:cubicBezTo>
                      <a:pt x="89" y="0"/>
                      <a:pt x="129" y="17"/>
                      <a:pt x="152" y="19"/>
                    </a:cubicBezTo>
                    <a:cubicBezTo>
                      <a:pt x="152" y="23"/>
                      <a:pt x="152" y="23"/>
                      <a:pt x="152" y="23"/>
                    </a:cubicBezTo>
                    <a:cubicBezTo>
                      <a:pt x="140" y="29"/>
                      <a:pt x="128" y="35"/>
                      <a:pt x="117" y="41"/>
                    </a:cubicBezTo>
                    <a:cubicBezTo>
                      <a:pt x="94" y="50"/>
                      <a:pt x="72" y="59"/>
                      <a:pt x="49" y="69"/>
                    </a:cubicBezTo>
                    <a:cubicBezTo>
                      <a:pt x="49" y="69"/>
                      <a:pt x="0" y="61"/>
                      <a:pt x="6" y="53"/>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5">
                <a:extLst>
                  <a:ext uri="{FF2B5EF4-FFF2-40B4-BE49-F238E27FC236}">
                    <a16:creationId xmlns="" xmlns:a16="http://schemas.microsoft.com/office/drawing/2014/main" id="{8DF30566-0ABF-47E0-BFA1-F9DB4FEF226D}"/>
                  </a:ext>
                </a:extLst>
              </p:cNvPr>
              <p:cNvSpPr>
                <a:spLocks noEditPoints="1"/>
              </p:cNvSpPr>
              <p:nvPr/>
            </p:nvSpPr>
            <p:spPr bwMode="auto">
              <a:xfrm>
                <a:off x="3509963" y="2493963"/>
                <a:ext cx="323850" cy="146050"/>
              </a:xfrm>
              <a:custGeom>
                <a:avLst/>
                <a:gdLst>
                  <a:gd name="T0" fmla="*/ 6 w 153"/>
                  <a:gd name="T1" fmla="*/ 52 h 69"/>
                  <a:gd name="T2" fmla="*/ 16 w 153"/>
                  <a:gd name="T3" fmla="*/ 49 h 69"/>
                  <a:gd name="T4" fmla="*/ 76 w 153"/>
                  <a:gd name="T5" fmla="*/ 10 h 69"/>
                  <a:gd name="T6" fmla="*/ 90 w 153"/>
                  <a:gd name="T7" fmla="*/ 0 h 69"/>
                  <a:gd name="T8" fmla="*/ 90 w 153"/>
                  <a:gd name="T9" fmla="*/ 0 h 69"/>
                  <a:gd name="T10" fmla="*/ 91 w 153"/>
                  <a:gd name="T11" fmla="*/ 0 h 69"/>
                  <a:gd name="T12" fmla="*/ 153 w 153"/>
                  <a:gd name="T13" fmla="*/ 18 h 69"/>
                  <a:gd name="T14" fmla="*/ 153 w 153"/>
                  <a:gd name="T15" fmla="*/ 18 h 69"/>
                  <a:gd name="T16" fmla="*/ 153 w 153"/>
                  <a:gd name="T17" fmla="*/ 19 h 69"/>
                  <a:gd name="T18" fmla="*/ 153 w 153"/>
                  <a:gd name="T19" fmla="*/ 23 h 69"/>
                  <a:gd name="T20" fmla="*/ 153 w 153"/>
                  <a:gd name="T21" fmla="*/ 23 h 69"/>
                  <a:gd name="T22" fmla="*/ 153 w 153"/>
                  <a:gd name="T23" fmla="*/ 24 h 69"/>
                  <a:gd name="T24" fmla="*/ 118 w 153"/>
                  <a:gd name="T25" fmla="*/ 41 h 69"/>
                  <a:gd name="T26" fmla="*/ 118 w 153"/>
                  <a:gd name="T27" fmla="*/ 41 h 69"/>
                  <a:gd name="T28" fmla="*/ 50 w 153"/>
                  <a:gd name="T29" fmla="*/ 69 h 69"/>
                  <a:gd name="T30" fmla="*/ 50 w 153"/>
                  <a:gd name="T31" fmla="*/ 69 h 69"/>
                  <a:gd name="T32" fmla="*/ 50 w 153"/>
                  <a:gd name="T33" fmla="*/ 69 h 69"/>
                  <a:gd name="T34" fmla="*/ 6 w 153"/>
                  <a:gd name="T35" fmla="*/ 53 h 69"/>
                  <a:gd name="T36" fmla="*/ 6 w 153"/>
                  <a:gd name="T37" fmla="*/ 52 h 69"/>
                  <a:gd name="T38" fmla="*/ 6 w 153"/>
                  <a:gd name="T39" fmla="*/ 52 h 69"/>
                  <a:gd name="T40" fmla="*/ 17 w 153"/>
                  <a:gd name="T41" fmla="*/ 50 h 69"/>
                  <a:gd name="T42" fmla="*/ 7 w 153"/>
                  <a:gd name="T43" fmla="*/ 53 h 69"/>
                  <a:gd name="T44" fmla="*/ 50 w 153"/>
                  <a:gd name="T45" fmla="*/ 68 h 69"/>
                  <a:gd name="T46" fmla="*/ 118 w 153"/>
                  <a:gd name="T47" fmla="*/ 41 h 69"/>
                  <a:gd name="T48" fmla="*/ 152 w 153"/>
                  <a:gd name="T49" fmla="*/ 23 h 69"/>
                  <a:gd name="T50" fmla="*/ 152 w 153"/>
                  <a:gd name="T51" fmla="*/ 19 h 69"/>
                  <a:gd name="T52" fmla="*/ 91 w 153"/>
                  <a:gd name="T53" fmla="*/ 1 h 69"/>
                  <a:gd name="T54" fmla="*/ 76 w 153"/>
                  <a:gd name="T55" fmla="*/ 11 h 69"/>
                  <a:gd name="T56" fmla="*/ 17 w 153"/>
                  <a:gd name="T57" fmla="*/ 50 h 69"/>
                  <a:gd name="T58" fmla="*/ 17 w 153"/>
                  <a:gd name="T59"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69">
                    <a:moveTo>
                      <a:pt x="6" y="52"/>
                    </a:moveTo>
                    <a:cubicBezTo>
                      <a:pt x="16" y="49"/>
                      <a:pt x="16" y="49"/>
                      <a:pt x="16" y="49"/>
                    </a:cubicBezTo>
                    <a:cubicBezTo>
                      <a:pt x="18" y="48"/>
                      <a:pt x="71" y="14"/>
                      <a:pt x="76" y="10"/>
                    </a:cubicBezTo>
                    <a:cubicBezTo>
                      <a:pt x="80" y="7"/>
                      <a:pt x="90" y="0"/>
                      <a:pt x="90" y="0"/>
                    </a:cubicBezTo>
                    <a:cubicBezTo>
                      <a:pt x="90" y="0"/>
                      <a:pt x="90" y="0"/>
                      <a:pt x="90" y="0"/>
                    </a:cubicBezTo>
                    <a:cubicBezTo>
                      <a:pt x="91" y="0"/>
                      <a:pt x="91" y="0"/>
                      <a:pt x="91" y="0"/>
                    </a:cubicBezTo>
                    <a:cubicBezTo>
                      <a:pt x="91" y="0"/>
                      <a:pt x="130" y="16"/>
                      <a:pt x="153" y="18"/>
                    </a:cubicBezTo>
                    <a:cubicBezTo>
                      <a:pt x="153" y="18"/>
                      <a:pt x="153" y="18"/>
                      <a:pt x="153" y="18"/>
                    </a:cubicBezTo>
                    <a:cubicBezTo>
                      <a:pt x="153" y="19"/>
                      <a:pt x="153" y="19"/>
                      <a:pt x="153" y="19"/>
                    </a:cubicBezTo>
                    <a:cubicBezTo>
                      <a:pt x="153" y="23"/>
                      <a:pt x="153" y="23"/>
                      <a:pt x="153" y="23"/>
                    </a:cubicBezTo>
                    <a:cubicBezTo>
                      <a:pt x="153" y="23"/>
                      <a:pt x="153" y="23"/>
                      <a:pt x="153" y="23"/>
                    </a:cubicBezTo>
                    <a:cubicBezTo>
                      <a:pt x="153" y="24"/>
                      <a:pt x="153" y="24"/>
                      <a:pt x="153" y="24"/>
                    </a:cubicBezTo>
                    <a:cubicBezTo>
                      <a:pt x="118" y="41"/>
                      <a:pt x="118" y="41"/>
                      <a:pt x="118" y="41"/>
                    </a:cubicBezTo>
                    <a:cubicBezTo>
                      <a:pt x="118" y="41"/>
                      <a:pt x="118" y="41"/>
                      <a:pt x="118" y="41"/>
                    </a:cubicBezTo>
                    <a:cubicBezTo>
                      <a:pt x="50" y="69"/>
                      <a:pt x="50" y="69"/>
                      <a:pt x="50" y="69"/>
                    </a:cubicBezTo>
                    <a:cubicBezTo>
                      <a:pt x="50" y="69"/>
                      <a:pt x="50" y="69"/>
                      <a:pt x="50" y="69"/>
                    </a:cubicBezTo>
                    <a:cubicBezTo>
                      <a:pt x="50" y="69"/>
                      <a:pt x="50" y="69"/>
                      <a:pt x="50" y="69"/>
                    </a:cubicBezTo>
                    <a:cubicBezTo>
                      <a:pt x="50" y="69"/>
                      <a:pt x="0" y="61"/>
                      <a:pt x="6" y="53"/>
                    </a:cubicBezTo>
                    <a:cubicBezTo>
                      <a:pt x="6" y="52"/>
                      <a:pt x="6" y="52"/>
                      <a:pt x="6" y="52"/>
                    </a:cubicBezTo>
                    <a:cubicBezTo>
                      <a:pt x="6" y="52"/>
                      <a:pt x="6" y="52"/>
                      <a:pt x="6" y="52"/>
                    </a:cubicBezTo>
                    <a:close/>
                    <a:moveTo>
                      <a:pt x="17" y="50"/>
                    </a:moveTo>
                    <a:cubicBezTo>
                      <a:pt x="7" y="53"/>
                      <a:pt x="7" y="53"/>
                      <a:pt x="7" y="53"/>
                    </a:cubicBezTo>
                    <a:cubicBezTo>
                      <a:pt x="2" y="60"/>
                      <a:pt x="48" y="68"/>
                      <a:pt x="50" y="68"/>
                    </a:cubicBezTo>
                    <a:cubicBezTo>
                      <a:pt x="118" y="41"/>
                      <a:pt x="118" y="41"/>
                      <a:pt x="118" y="41"/>
                    </a:cubicBezTo>
                    <a:cubicBezTo>
                      <a:pt x="152" y="23"/>
                      <a:pt x="152" y="23"/>
                      <a:pt x="152" y="23"/>
                    </a:cubicBezTo>
                    <a:cubicBezTo>
                      <a:pt x="152" y="19"/>
                      <a:pt x="152" y="19"/>
                      <a:pt x="152" y="19"/>
                    </a:cubicBezTo>
                    <a:cubicBezTo>
                      <a:pt x="131" y="17"/>
                      <a:pt x="93" y="2"/>
                      <a:pt x="91" y="1"/>
                    </a:cubicBezTo>
                    <a:cubicBezTo>
                      <a:pt x="89" y="1"/>
                      <a:pt x="80" y="7"/>
                      <a:pt x="76" y="11"/>
                    </a:cubicBezTo>
                    <a:cubicBezTo>
                      <a:pt x="71" y="14"/>
                      <a:pt x="17" y="50"/>
                      <a:pt x="17" y="50"/>
                    </a:cubicBezTo>
                    <a:cubicBezTo>
                      <a:pt x="17" y="50"/>
                      <a:pt x="17" y="50"/>
                      <a:pt x="17"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6">
                <a:extLst>
                  <a:ext uri="{FF2B5EF4-FFF2-40B4-BE49-F238E27FC236}">
                    <a16:creationId xmlns="" xmlns:a16="http://schemas.microsoft.com/office/drawing/2014/main" id="{6A70D6DD-FFC9-449F-BB1F-738F9A3E8A34}"/>
                  </a:ext>
                </a:extLst>
              </p:cNvPr>
              <p:cNvSpPr>
                <a:spLocks/>
              </p:cNvSpPr>
              <p:nvPr/>
            </p:nvSpPr>
            <p:spPr bwMode="auto">
              <a:xfrm>
                <a:off x="3530600" y="2514600"/>
                <a:ext cx="303213" cy="95250"/>
              </a:xfrm>
              <a:custGeom>
                <a:avLst/>
                <a:gdLst>
                  <a:gd name="T0" fmla="*/ 0 w 191"/>
                  <a:gd name="T1" fmla="*/ 59 h 60"/>
                  <a:gd name="T2" fmla="*/ 110 w 191"/>
                  <a:gd name="T3" fmla="*/ 0 h 60"/>
                  <a:gd name="T4" fmla="*/ 191 w 191"/>
                  <a:gd name="T5" fmla="*/ 12 h 60"/>
                  <a:gd name="T6" fmla="*/ 191 w 191"/>
                  <a:gd name="T7" fmla="*/ 17 h 60"/>
                  <a:gd name="T8" fmla="*/ 111 w 191"/>
                  <a:gd name="T9" fmla="*/ 7 h 60"/>
                  <a:gd name="T10" fmla="*/ 8 w 191"/>
                  <a:gd name="T11" fmla="*/ 60 h 60"/>
                  <a:gd name="T12" fmla="*/ 0 w 19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91" h="60">
                    <a:moveTo>
                      <a:pt x="0" y="59"/>
                    </a:moveTo>
                    <a:lnTo>
                      <a:pt x="110" y="0"/>
                    </a:lnTo>
                    <a:lnTo>
                      <a:pt x="191" y="12"/>
                    </a:lnTo>
                    <a:lnTo>
                      <a:pt x="191" y="17"/>
                    </a:lnTo>
                    <a:lnTo>
                      <a:pt x="111" y="7"/>
                    </a:lnTo>
                    <a:lnTo>
                      <a:pt x="8" y="60"/>
                    </a:lnTo>
                    <a:lnTo>
                      <a:pt x="0" y="59"/>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7">
                <a:extLst>
                  <a:ext uri="{FF2B5EF4-FFF2-40B4-BE49-F238E27FC236}">
                    <a16:creationId xmlns="" xmlns:a16="http://schemas.microsoft.com/office/drawing/2014/main" id="{C72AA5A8-E6C9-4D44-B2D0-565CC7D39EC6}"/>
                  </a:ext>
                </a:extLst>
              </p:cNvPr>
              <p:cNvSpPr>
                <a:spLocks noEditPoints="1"/>
              </p:cNvSpPr>
              <p:nvPr/>
            </p:nvSpPr>
            <p:spPr bwMode="auto">
              <a:xfrm>
                <a:off x="3530600" y="2513013"/>
                <a:ext cx="303213" cy="96838"/>
              </a:xfrm>
              <a:custGeom>
                <a:avLst/>
                <a:gdLst>
                  <a:gd name="T0" fmla="*/ 0 w 191"/>
                  <a:gd name="T1" fmla="*/ 60 h 61"/>
                  <a:gd name="T2" fmla="*/ 110 w 191"/>
                  <a:gd name="T3" fmla="*/ 0 h 61"/>
                  <a:gd name="T4" fmla="*/ 110 w 191"/>
                  <a:gd name="T5" fmla="*/ 0 h 61"/>
                  <a:gd name="T6" fmla="*/ 110 w 191"/>
                  <a:gd name="T7" fmla="*/ 0 h 61"/>
                  <a:gd name="T8" fmla="*/ 191 w 191"/>
                  <a:gd name="T9" fmla="*/ 12 h 61"/>
                  <a:gd name="T10" fmla="*/ 191 w 191"/>
                  <a:gd name="T11" fmla="*/ 12 h 61"/>
                  <a:gd name="T12" fmla="*/ 191 w 191"/>
                  <a:gd name="T13" fmla="*/ 13 h 61"/>
                  <a:gd name="T14" fmla="*/ 191 w 191"/>
                  <a:gd name="T15" fmla="*/ 18 h 61"/>
                  <a:gd name="T16" fmla="*/ 111 w 191"/>
                  <a:gd name="T17" fmla="*/ 9 h 61"/>
                  <a:gd name="T18" fmla="*/ 8 w 191"/>
                  <a:gd name="T19" fmla="*/ 61 h 61"/>
                  <a:gd name="T20" fmla="*/ 8 w 191"/>
                  <a:gd name="T21" fmla="*/ 61 h 61"/>
                  <a:gd name="T22" fmla="*/ 8 w 191"/>
                  <a:gd name="T23" fmla="*/ 61 h 61"/>
                  <a:gd name="T24" fmla="*/ 0 w 191"/>
                  <a:gd name="T25" fmla="*/ 60 h 61"/>
                  <a:gd name="T26" fmla="*/ 0 w 191"/>
                  <a:gd name="T27" fmla="*/ 60 h 61"/>
                  <a:gd name="T28" fmla="*/ 0 w 191"/>
                  <a:gd name="T29" fmla="*/ 60 h 61"/>
                  <a:gd name="T30" fmla="*/ 110 w 191"/>
                  <a:gd name="T31" fmla="*/ 1 h 61"/>
                  <a:gd name="T32" fmla="*/ 1 w 191"/>
                  <a:gd name="T33" fmla="*/ 60 h 61"/>
                  <a:gd name="T34" fmla="*/ 8 w 191"/>
                  <a:gd name="T35" fmla="*/ 61 h 61"/>
                  <a:gd name="T36" fmla="*/ 111 w 191"/>
                  <a:gd name="T37" fmla="*/ 8 h 61"/>
                  <a:gd name="T38" fmla="*/ 111 w 191"/>
                  <a:gd name="T39" fmla="*/ 8 h 61"/>
                  <a:gd name="T40" fmla="*/ 111 w 191"/>
                  <a:gd name="T41" fmla="*/ 8 h 61"/>
                  <a:gd name="T42" fmla="*/ 190 w 191"/>
                  <a:gd name="T43" fmla="*/ 18 h 61"/>
                  <a:gd name="T44" fmla="*/ 190 w 191"/>
                  <a:gd name="T45" fmla="*/ 13 h 61"/>
                  <a:gd name="T46" fmla="*/ 110 w 191"/>
                  <a:gd name="T47"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61">
                    <a:moveTo>
                      <a:pt x="0" y="60"/>
                    </a:moveTo>
                    <a:lnTo>
                      <a:pt x="110" y="0"/>
                    </a:lnTo>
                    <a:lnTo>
                      <a:pt x="110" y="0"/>
                    </a:lnTo>
                    <a:lnTo>
                      <a:pt x="110" y="0"/>
                    </a:lnTo>
                    <a:lnTo>
                      <a:pt x="191" y="12"/>
                    </a:lnTo>
                    <a:lnTo>
                      <a:pt x="191" y="12"/>
                    </a:lnTo>
                    <a:lnTo>
                      <a:pt x="191" y="13"/>
                    </a:lnTo>
                    <a:lnTo>
                      <a:pt x="191" y="18"/>
                    </a:lnTo>
                    <a:lnTo>
                      <a:pt x="111" y="9"/>
                    </a:lnTo>
                    <a:lnTo>
                      <a:pt x="8" y="61"/>
                    </a:lnTo>
                    <a:lnTo>
                      <a:pt x="8" y="61"/>
                    </a:lnTo>
                    <a:lnTo>
                      <a:pt x="8" y="61"/>
                    </a:lnTo>
                    <a:lnTo>
                      <a:pt x="0" y="60"/>
                    </a:lnTo>
                    <a:lnTo>
                      <a:pt x="0" y="60"/>
                    </a:lnTo>
                    <a:lnTo>
                      <a:pt x="0" y="60"/>
                    </a:lnTo>
                    <a:close/>
                    <a:moveTo>
                      <a:pt x="110" y="1"/>
                    </a:moveTo>
                    <a:lnTo>
                      <a:pt x="1" y="60"/>
                    </a:lnTo>
                    <a:lnTo>
                      <a:pt x="8" y="61"/>
                    </a:lnTo>
                    <a:lnTo>
                      <a:pt x="111" y="8"/>
                    </a:lnTo>
                    <a:lnTo>
                      <a:pt x="111" y="8"/>
                    </a:lnTo>
                    <a:lnTo>
                      <a:pt x="111" y="8"/>
                    </a:lnTo>
                    <a:lnTo>
                      <a:pt x="190" y="18"/>
                    </a:lnTo>
                    <a:lnTo>
                      <a:pt x="190" y="13"/>
                    </a:lnTo>
                    <a:lnTo>
                      <a:pt x="110" y="1"/>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8">
                <a:extLst>
                  <a:ext uri="{FF2B5EF4-FFF2-40B4-BE49-F238E27FC236}">
                    <a16:creationId xmlns="" xmlns:a16="http://schemas.microsoft.com/office/drawing/2014/main" id="{F6BCC60E-851D-4E58-A53D-4C902B5C55EB}"/>
                  </a:ext>
                </a:extLst>
              </p:cNvPr>
              <p:cNvSpPr>
                <a:spLocks/>
              </p:cNvSpPr>
              <p:nvPr/>
            </p:nvSpPr>
            <p:spPr bwMode="auto">
              <a:xfrm>
                <a:off x="3535363" y="2525713"/>
                <a:ext cx="298450" cy="114300"/>
              </a:xfrm>
              <a:custGeom>
                <a:avLst/>
                <a:gdLst>
                  <a:gd name="T0" fmla="*/ 141 w 141"/>
                  <a:gd name="T1" fmla="*/ 8 h 54"/>
                  <a:gd name="T2" fmla="*/ 106 w 141"/>
                  <a:gd name="T3" fmla="*/ 26 h 54"/>
                  <a:gd name="T4" fmla="*/ 38 w 141"/>
                  <a:gd name="T5" fmla="*/ 54 h 54"/>
                  <a:gd name="T6" fmla="*/ 2 w 141"/>
                  <a:gd name="T7" fmla="*/ 45 h 54"/>
                  <a:gd name="T8" fmla="*/ 1 w 141"/>
                  <a:gd name="T9" fmla="*/ 42 h 54"/>
                  <a:gd name="T10" fmla="*/ 4 w 141"/>
                  <a:gd name="T11" fmla="*/ 40 h 54"/>
                  <a:gd name="T12" fmla="*/ 81 w 141"/>
                  <a:gd name="T13" fmla="*/ 0 h 54"/>
                  <a:gd name="T14" fmla="*/ 141 w 141"/>
                  <a:gd name="T15" fmla="*/ 8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4">
                    <a:moveTo>
                      <a:pt x="141" y="8"/>
                    </a:moveTo>
                    <a:cubicBezTo>
                      <a:pt x="129" y="14"/>
                      <a:pt x="117" y="20"/>
                      <a:pt x="106" y="26"/>
                    </a:cubicBezTo>
                    <a:cubicBezTo>
                      <a:pt x="83" y="35"/>
                      <a:pt x="61" y="44"/>
                      <a:pt x="38" y="54"/>
                    </a:cubicBezTo>
                    <a:cubicBezTo>
                      <a:pt x="38" y="54"/>
                      <a:pt x="15" y="50"/>
                      <a:pt x="2" y="45"/>
                    </a:cubicBezTo>
                    <a:cubicBezTo>
                      <a:pt x="1" y="44"/>
                      <a:pt x="0" y="43"/>
                      <a:pt x="1" y="42"/>
                    </a:cubicBezTo>
                    <a:cubicBezTo>
                      <a:pt x="4" y="40"/>
                      <a:pt x="4" y="40"/>
                      <a:pt x="4" y="40"/>
                    </a:cubicBezTo>
                    <a:cubicBezTo>
                      <a:pt x="81" y="0"/>
                      <a:pt x="81" y="0"/>
                      <a:pt x="81" y="0"/>
                    </a:cubicBezTo>
                    <a:lnTo>
                      <a:pt x="141" y="8"/>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9">
                <a:extLst>
                  <a:ext uri="{FF2B5EF4-FFF2-40B4-BE49-F238E27FC236}">
                    <a16:creationId xmlns="" xmlns:a16="http://schemas.microsoft.com/office/drawing/2014/main" id="{6BD9B483-C5E1-4707-86D3-BFF5A673906C}"/>
                  </a:ext>
                </a:extLst>
              </p:cNvPr>
              <p:cNvSpPr>
                <a:spLocks noEditPoints="1"/>
              </p:cNvSpPr>
              <p:nvPr/>
            </p:nvSpPr>
            <p:spPr bwMode="auto">
              <a:xfrm>
                <a:off x="3535363" y="2525713"/>
                <a:ext cx="298450" cy="114300"/>
              </a:xfrm>
              <a:custGeom>
                <a:avLst/>
                <a:gdLst>
                  <a:gd name="T0" fmla="*/ 141 w 141"/>
                  <a:gd name="T1" fmla="*/ 9 h 54"/>
                  <a:gd name="T2" fmla="*/ 106 w 141"/>
                  <a:gd name="T3" fmla="*/ 26 h 54"/>
                  <a:gd name="T4" fmla="*/ 106 w 141"/>
                  <a:gd name="T5" fmla="*/ 26 h 54"/>
                  <a:gd name="T6" fmla="*/ 38 w 141"/>
                  <a:gd name="T7" fmla="*/ 54 h 54"/>
                  <a:gd name="T8" fmla="*/ 38 w 141"/>
                  <a:gd name="T9" fmla="*/ 54 h 54"/>
                  <a:gd name="T10" fmla="*/ 38 w 141"/>
                  <a:gd name="T11" fmla="*/ 54 h 54"/>
                  <a:gd name="T12" fmla="*/ 2 w 141"/>
                  <a:gd name="T13" fmla="*/ 45 h 54"/>
                  <a:gd name="T14" fmla="*/ 2 w 141"/>
                  <a:gd name="T15" fmla="*/ 45 h 54"/>
                  <a:gd name="T16" fmla="*/ 2 w 141"/>
                  <a:gd name="T17" fmla="*/ 45 h 54"/>
                  <a:gd name="T18" fmla="*/ 0 w 141"/>
                  <a:gd name="T19" fmla="*/ 43 h 54"/>
                  <a:gd name="T20" fmla="*/ 0 w 141"/>
                  <a:gd name="T21" fmla="*/ 43 h 54"/>
                  <a:gd name="T22" fmla="*/ 1 w 141"/>
                  <a:gd name="T23" fmla="*/ 42 h 54"/>
                  <a:gd name="T24" fmla="*/ 1 w 141"/>
                  <a:gd name="T25" fmla="*/ 42 h 54"/>
                  <a:gd name="T26" fmla="*/ 3 w 141"/>
                  <a:gd name="T27" fmla="*/ 40 h 54"/>
                  <a:gd name="T28" fmla="*/ 3 w 141"/>
                  <a:gd name="T29" fmla="*/ 40 h 54"/>
                  <a:gd name="T30" fmla="*/ 4 w 141"/>
                  <a:gd name="T31" fmla="*/ 40 h 54"/>
                  <a:gd name="T32" fmla="*/ 81 w 141"/>
                  <a:gd name="T33" fmla="*/ 0 h 54"/>
                  <a:gd name="T34" fmla="*/ 81 w 141"/>
                  <a:gd name="T35" fmla="*/ 0 h 54"/>
                  <a:gd name="T36" fmla="*/ 81 w 141"/>
                  <a:gd name="T37" fmla="*/ 0 h 54"/>
                  <a:gd name="T38" fmla="*/ 141 w 141"/>
                  <a:gd name="T39" fmla="*/ 8 h 54"/>
                  <a:gd name="T40" fmla="*/ 141 w 141"/>
                  <a:gd name="T41" fmla="*/ 9 h 54"/>
                  <a:gd name="T42" fmla="*/ 106 w 141"/>
                  <a:gd name="T43" fmla="*/ 26 h 54"/>
                  <a:gd name="T44" fmla="*/ 140 w 141"/>
                  <a:gd name="T45" fmla="*/ 8 h 54"/>
                  <a:gd name="T46" fmla="*/ 81 w 141"/>
                  <a:gd name="T47" fmla="*/ 1 h 54"/>
                  <a:gd name="T48" fmla="*/ 4 w 141"/>
                  <a:gd name="T49" fmla="*/ 40 h 54"/>
                  <a:gd name="T50" fmla="*/ 1 w 141"/>
                  <a:gd name="T51" fmla="*/ 43 h 54"/>
                  <a:gd name="T52" fmla="*/ 1 w 141"/>
                  <a:gd name="T53" fmla="*/ 43 h 54"/>
                  <a:gd name="T54" fmla="*/ 1 w 141"/>
                  <a:gd name="T55" fmla="*/ 43 h 54"/>
                  <a:gd name="T56" fmla="*/ 1 w 141"/>
                  <a:gd name="T57" fmla="*/ 43 h 54"/>
                  <a:gd name="T58" fmla="*/ 1 w 141"/>
                  <a:gd name="T59" fmla="*/ 43 h 54"/>
                  <a:gd name="T60" fmla="*/ 1 w 141"/>
                  <a:gd name="T61" fmla="*/ 43 h 54"/>
                  <a:gd name="T62" fmla="*/ 2 w 141"/>
                  <a:gd name="T63" fmla="*/ 45 h 54"/>
                  <a:gd name="T64" fmla="*/ 38 w 141"/>
                  <a:gd name="T65" fmla="*/ 53 h 54"/>
                  <a:gd name="T66" fmla="*/ 106 w 141"/>
                  <a:gd name="T6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54">
                    <a:moveTo>
                      <a:pt x="141" y="9"/>
                    </a:moveTo>
                    <a:cubicBezTo>
                      <a:pt x="106" y="26"/>
                      <a:pt x="106" y="26"/>
                      <a:pt x="106" y="26"/>
                    </a:cubicBezTo>
                    <a:cubicBezTo>
                      <a:pt x="106" y="26"/>
                      <a:pt x="106" y="26"/>
                      <a:pt x="106" y="26"/>
                    </a:cubicBezTo>
                    <a:cubicBezTo>
                      <a:pt x="38" y="54"/>
                      <a:pt x="38" y="54"/>
                      <a:pt x="38" y="54"/>
                    </a:cubicBezTo>
                    <a:cubicBezTo>
                      <a:pt x="38" y="54"/>
                      <a:pt x="38" y="54"/>
                      <a:pt x="38" y="54"/>
                    </a:cubicBezTo>
                    <a:cubicBezTo>
                      <a:pt x="38" y="54"/>
                      <a:pt x="38" y="54"/>
                      <a:pt x="38" y="54"/>
                    </a:cubicBezTo>
                    <a:cubicBezTo>
                      <a:pt x="38" y="54"/>
                      <a:pt x="15" y="50"/>
                      <a:pt x="2" y="45"/>
                    </a:cubicBezTo>
                    <a:cubicBezTo>
                      <a:pt x="2" y="45"/>
                      <a:pt x="2" y="45"/>
                      <a:pt x="2" y="45"/>
                    </a:cubicBezTo>
                    <a:cubicBezTo>
                      <a:pt x="2" y="45"/>
                      <a:pt x="2" y="45"/>
                      <a:pt x="2" y="45"/>
                    </a:cubicBezTo>
                    <a:cubicBezTo>
                      <a:pt x="1" y="44"/>
                      <a:pt x="1" y="44"/>
                      <a:pt x="0" y="43"/>
                    </a:cubicBezTo>
                    <a:cubicBezTo>
                      <a:pt x="0" y="43"/>
                      <a:pt x="0" y="43"/>
                      <a:pt x="0" y="43"/>
                    </a:cubicBezTo>
                    <a:cubicBezTo>
                      <a:pt x="0" y="43"/>
                      <a:pt x="0" y="42"/>
                      <a:pt x="1" y="42"/>
                    </a:cubicBezTo>
                    <a:cubicBezTo>
                      <a:pt x="1" y="42"/>
                      <a:pt x="1" y="42"/>
                      <a:pt x="1" y="42"/>
                    </a:cubicBezTo>
                    <a:cubicBezTo>
                      <a:pt x="3" y="40"/>
                      <a:pt x="3" y="40"/>
                      <a:pt x="3" y="40"/>
                    </a:cubicBezTo>
                    <a:cubicBezTo>
                      <a:pt x="3" y="40"/>
                      <a:pt x="3" y="40"/>
                      <a:pt x="3" y="40"/>
                    </a:cubicBezTo>
                    <a:cubicBezTo>
                      <a:pt x="4" y="40"/>
                      <a:pt x="4" y="40"/>
                      <a:pt x="4" y="40"/>
                    </a:cubicBezTo>
                    <a:cubicBezTo>
                      <a:pt x="81" y="0"/>
                      <a:pt x="81" y="0"/>
                      <a:pt x="81" y="0"/>
                    </a:cubicBezTo>
                    <a:cubicBezTo>
                      <a:pt x="81" y="0"/>
                      <a:pt x="81" y="0"/>
                      <a:pt x="81" y="0"/>
                    </a:cubicBezTo>
                    <a:cubicBezTo>
                      <a:pt x="81" y="0"/>
                      <a:pt x="81" y="0"/>
                      <a:pt x="81" y="0"/>
                    </a:cubicBezTo>
                    <a:cubicBezTo>
                      <a:pt x="141" y="8"/>
                      <a:pt x="141" y="8"/>
                      <a:pt x="141" y="8"/>
                    </a:cubicBezTo>
                    <a:cubicBezTo>
                      <a:pt x="141" y="9"/>
                      <a:pt x="141" y="9"/>
                      <a:pt x="141" y="9"/>
                    </a:cubicBezTo>
                    <a:close/>
                    <a:moveTo>
                      <a:pt x="106" y="26"/>
                    </a:moveTo>
                    <a:cubicBezTo>
                      <a:pt x="140" y="8"/>
                      <a:pt x="140" y="8"/>
                      <a:pt x="140" y="8"/>
                    </a:cubicBezTo>
                    <a:cubicBezTo>
                      <a:pt x="81" y="1"/>
                      <a:pt x="81" y="1"/>
                      <a:pt x="81" y="1"/>
                    </a:cubicBezTo>
                    <a:cubicBezTo>
                      <a:pt x="4" y="40"/>
                      <a:pt x="4" y="40"/>
                      <a:pt x="4" y="40"/>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4"/>
                      <a:pt x="2" y="45"/>
                    </a:cubicBezTo>
                    <a:cubicBezTo>
                      <a:pt x="14" y="49"/>
                      <a:pt x="36" y="53"/>
                      <a:pt x="38" y="53"/>
                    </a:cubicBezTo>
                    <a:lnTo>
                      <a:pt x="106" y="26"/>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
                <a:extLst>
                  <a:ext uri="{FF2B5EF4-FFF2-40B4-BE49-F238E27FC236}">
                    <a16:creationId xmlns="" xmlns:a16="http://schemas.microsoft.com/office/drawing/2014/main" id="{146015F6-5195-437A-92CF-8E8736063E49}"/>
                  </a:ext>
                </a:extLst>
              </p:cNvPr>
              <p:cNvSpPr>
                <a:spLocks/>
              </p:cNvSpPr>
              <p:nvPr/>
            </p:nvSpPr>
            <p:spPr bwMode="auto">
              <a:xfrm>
                <a:off x="3411538" y="2597150"/>
                <a:ext cx="190500" cy="106363"/>
              </a:xfrm>
              <a:custGeom>
                <a:avLst/>
                <a:gdLst>
                  <a:gd name="T0" fmla="*/ 12 w 90"/>
                  <a:gd name="T1" fmla="*/ 5 h 50"/>
                  <a:gd name="T2" fmla="*/ 5 w 90"/>
                  <a:gd name="T3" fmla="*/ 25 h 50"/>
                  <a:gd name="T4" fmla="*/ 2 w 90"/>
                  <a:gd name="T5" fmla="*/ 39 h 50"/>
                  <a:gd name="T6" fmla="*/ 9 w 90"/>
                  <a:gd name="T7" fmla="*/ 41 h 50"/>
                  <a:gd name="T8" fmla="*/ 19 w 90"/>
                  <a:gd name="T9" fmla="*/ 44 h 50"/>
                  <a:gd name="T10" fmla="*/ 39 w 90"/>
                  <a:gd name="T11" fmla="*/ 50 h 50"/>
                  <a:gd name="T12" fmla="*/ 53 w 90"/>
                  <a:gd name="T13" fmla="*/ 45 h 50"/>
                  <a:gd name="T14" fmla="*/ 54 w 90"/>
                  <a:gd name="T15" fmla="*/ 40 h 50"/>
                  <a:gd name="T16" fmla="*/ 62 w 90"/>
                  <a:gd name="T17" fmla="*/ 35 h 50"/>
                  <a:gd name="T18" fmla="*/ 60 w 90"/>
                  <a:gd name="T19" fmla="*/ 29 h 50"/>
                  <a:gd name="T20" fmla="*/ 66 w 90"/>
                  <a:gd name="T21" fmla="*/ 24 h 50"/>
                  <a:gd name="T22" fmla="*/ 65 w 90"/>
                  <a:gd name="T23" fmla="*/ 17 h 50"/>
                  <a:gd name="T24" fmla="*/ 81 w 90"/>
                  <a:gd name="T25" fmla="*/ 14 h 50"/>
                  <a:gd name="T26" fmla="*/ 89 w 90"/>
                  <a:gd name="T27" fmla="*/ 9 h 50"/>
                  <a:gd name="T28" fmla="*/ 83 w 90"/>
                  <a:gd name="T29" fmla="*/ 6 h 50"/>
                  <a:gd name="T30" fmla="*/ 78 w 90"/>
                  <a:gd name="T31" fmla="*/ 6 h 50"/>
                  <a:gd name="T32" fmla="*/ 62 w 90"/>
                  <a:gd name="T33" fmla="*/ 6 h 50"/>
                  <a:gd name="T34" fmla="*/ 56 w 90"/>
                  <a:gd name="T35" fmla="*/ 5 h 50"/>
                  <a:gd name="T36" fmla="*/ 63 w 90"/>
                  <a:gd name="T37" fmla="*/ 1 h 50"/>
                  <a:gd name="T38" fmla="*/ 43 w 90"/>
                  <a:gd name="T39" fmla="*/ 1 h 50"/>
                  <a:gd name="T40" fmla="*/ 27 w 90"/>
                  <a:gd name="T41" fmla="*/ 1 h 50"/>
                  <a:gd name="T42" fmla="*/ 12 w 90"/>
                  <a:gd name="T4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50">
                    <a:moveTo>
                      <a:pt x="12" y="5"/>
                    </a:moveTo>
                    <a:cubicBezTo>
                      <a:pt x="5" y="25"/>
                      <a:pt x="5" y="25"/>
                      <a:pt x="5" y="25"/>
                    </a:cubicBezTo>
                    <a:cubicBezTo>
                      <a:pt x="5" y="25"/>
                      <a:pt x="0" y="36"/>
                      <a:pt x="2" y="39"/>
                    </a:cubicBezTo>
                    <a:cubicBezTo>
                      <a:pt x="4" y="41"/>
                      <a:pt x="9" y="41"/>
                      <a:pt x="9" y="41"/>
                    </a:cubicBezTo>
                    <a:cubicBezTo>
                      <a:pt x="9" y="41"/>
                      <a:pt x="16" y="43"/>
                      <a:pt x="19" y="44"/>
                    </a:cubicBezTo>
                    <a:cubicBezTo>
                      <a:pt x="21" y="46"/>
                      <a:pt x="35" y="50"/>
                      <a:pt x="39" y="50"/>
                    </a:cubicBezTo>
                    <a:cubicBezTo>
                      <a:pt x="43" y="49"/>
                      <a:pt x="52" y="47"/>
                      <a:pt x="53" y="45"/>
                    </a:cubicBezTo>
                    <a:cubicBezTo>
                      <a:pt x="54" y="44"/>
                      <a:pt x="54" y="40"/>
                      <a:pt x="54" y="40"/>
                    </a:cubicBezTo>
                    <a:cubicBezTo>
                      <a:pt x="54" y="40"/>
                      <a:pt x="61" y="38"/>
                      <a:pt x="62" y="35"/>
                    </a:cubicBezTo>
                    <a:cubicBezTo>
                      <a:pt x="63" y="32"/>
                      <a:pt x="60" y="29"/>
                      <a:pt x="60" y="29"/>
                    </a:cubicBezTo>
                    <a:cubicBezTo>
                      <a:pt x="60" y="29"/>
                      <a:pt x="66" y="28"/>
                      <a:pt x="66" y="24"/>
                    </a:cubicBezTo>
                    <a:cubicBezTo>
                      <a:pt x="66" y="21"/>
                      <a:pt x="65" y="17"/>
                      <a:pt x="65" y="17"/>
                    </a:cubicBezTo>
                    <a:cubicBezTo>
                      <a:pt x="65" y="17"/>
                      <a:pt x="77" y="15"/>
                      <a:pt x="81" y="14"/>
                    </a:cubicBezTo>
                    <a:cubicBezTo>
                      <a:pt x="86" y="13"/>
                      <a:pt x="90" y="13"/>
                      <a:pt x="89" y="9"/>
                    </a:cubicBezTo>
                    <a:cubicBezTo>
                      <a:pt x="88" y="6"/>
                      <a:pt x="87" y="5"/>
                      <a:pt x="83" y="6"/>
                    </a:cubicBezTo>
                    <a:cubicBezTo>
                      <a:pt x="78" y="6"/>
                      <a:pt x="78" y="6"/>
                      <a:pt x="78" y="6"/>
                    </a:cubicBezTo>
                    <a:cubicBezTo>
                      <a:pt x="62" y="6"/>
                      <a:pt x="62" y="6"/>
                      <a:pt x="62" y="6"/>
                    </a:cubicBezTo>
                    <a:cubicBezTo>
                      <a:pt x="56" y="5"/>
                      <a:pt x="56" y="5"/>
                      <a:pt x="56" y="5"/>
                    </a:cubicBezTo>
                    <a:cubicBezTo>
                      <a:pt x="63" y="1"/>
                      <a:pt x="63" y="1"/>
                      <a:pt x="63" y="1"/>
                    </a:cubicBezTo>
                    <a:cubicBezTo>
                      <a:pt x="63" y="1"/>
                      <a:pt x="47" y="1"/>
                      <a:pt x="43" y="1"/>
                    </a:cubicBezTo>
                    <a:cubicBezTo>
                      <a:pt x="38" y="0"/>
                      <a:pt x="33" y="0"/>
                      <a:pt x="27" y="1"/>
                    </a:cubicBezTo>
                    <a:cubicBezTo>
                      <a:pt x="22" y="3"/>
                      <a:pt x="19" y="2"/>
                      <a:pt x="12" y="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TextBox 69">
              <a:extLst>
                <a:ext uri="{FF2B5EF4-FFF2-40B4-BE49-F238E27FC236}">
                  <a16:creationId xmlns="" xmlns:a16="http://schemas.microsoft.com/office/drawing/2014/main" id="{8F0EE5F4-1766-4AEF-B370-E937696E3108}"/>
                </a:ext>
              </a:extLst>
            </p:cNvPr>
            <p:cNvSpPr txBox="1"/>
            <p:nvPr/>
          </p:nvSpPr>
          <p:spPr>
            <a:xfrm>
              <a:off x="8745042" y="-594181"/>
              <a:ext cx="2608758" cy="4708981"/>
            </a:xfrm>
            <a:prstGeom prst="rect">
              <a:avLst/>
            </a:prstGeom>
            <a:noFill/>
          </p:spPr>
          <p:txBody>
            <a:bodyPr wrap="square" rtlCol="0">
              <a:spAutoFit/>
              <a:scene3d>
                <a:camera prst="perspectiveLeft" fov="4200000">
                  <a:rot lat="0" lon="19799993" rev="0"/>
                </a:camera>
                <a:lightRig rig="threePt" dir="t"/>
              </a:scene3d>
              <a:sp3d extrusionH="508000" prstMaterial="metal">
                <a:bevelT w="190500" h="190500"/>
              </a:sp3d>
            </a:bodyPr>
            <a:lstStyle/>
            <a:p>
              <a:pPr algn="ctr"/>
              <a:r>
                <a:rPr lang="en-US" sz="30000" dirty="0">
                  <a:solidFill>
                    <a:srgbClr val="C00000"/>
                  </a:solidFill>
                  <a:latin typeface="Arial Black" pitchFamily="34" charset="0"/>
                  <a:cs typeface="Arial" pitchFamily="34" charset="0"/>
                </a:rPr>
                <a:t>?</a:t>
              </a:r>
            </a:p>
          </p:txBody>
        </p:sp>
      </p:grpSp>
    </p:spTree>
    <p:extLst>
      <p:ext uri="{BB962C8B-B14F-4D97-AF65-F5344CB8AC3E}">
        <p14:creationId xmlns:p14="http://schemas.microsoft.com/office/powerpoint/2010/main" val="2076358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250"/>
                                  </p:stCondLst>
                                  <p:childTnLst>
                                    <p:set>
                                      <p:cBhvr>
                                        <p:cTn id="10" dur="1" fill="hold">
                                          <p:stCondLst>
                                            <p:cond delay="0"/>
                                          </p:stCondLst>
                                        </p:cTn>
                                        <p:tgtEl>
                                          <p:spTgt spid="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50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6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 xmlns:a16="http://schemas.microsoft.com/office/drawing/2014/main" id="{C87F7D95-A004-4933-9357-16FB71778687}"/>
              </a:ext>
            </a:extLst>
          </p:cNvPr>
          <p:cNvSpPr>
            <a:spLocks noGrp="1"/>
          </p:cNvSpPr>
          <p:nvPr>
            <p:ph type="title"/>
          </p:nvPr>
        </p:nvSpPr>
        <p:spPr>
          <a:xfrm>
            <a:off x="457200" y="274642"/>
            <a:ext cx="10440534" cy="745601"/>
          </a:xfrm>
        </p:spPr>
        <p:txBody>
          <a:bodyPr/>
          <a:lstStyle/>
          <a:p>
            <a:r>
              <a:rPr lang="en-US" dirty="0" smtClean="0"/>
              <a:t>Problem Statements</a:t>
            </a:r>
            <a:endParaRPr lang="en-US" dirty="0"/>
          </a:p>
        </p:txBody>
      </p:sp>
      <p:grpSp>
        <p:nvGrpSpPr>
          <p:cNvPr id="4" name="Group 3"/>
          <p:cNvGrpSpPr/>
          <p:nvPr/>
        </p:nvGrpSpPr>
        <p:grpSpPr>
          <a:xfrm>
            <a:off x="8011629" y="-81147"/>
            <a:ext cx="3238504" cy="4957947"/>
            <a:chOff x="8011629" y="-81147"/>
            <a:chExt cx="3238504" cy="4957947"/>
          </a:xfrm>
        </p:grpSpPr>
        <p:sp>
          <p:nvSpPr>
            <p:cNvPr id="8" name="Oval 7">
              <a:extLst>
                <a:ext uri="{FF2B5EF4-FFF2-40B4-BE49-F238E27FC236}">
                  <a16:creationId xmlns="" xmlns:a16="http://schemas.microsoft.com/office/drawing/2014/main" id="{8AD318E4-3B5B-4521-8395-DC257C35C8D2}"/>
                </a:ext>
              </a:extLst>
            </p:cNvPr>
            <p:cNvSpPr/>
            <p:nvPr/>
          </p:nvSpPr>
          <p:spPr>
            <a:xfrm>
              <a:off x="8162362" y="3655246"/>
              <a:ext cx="2195757" cy="479395"/>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 xmlns:a16="http://schemas.microsoft.com/office/drawing/2014/main" id="{8F0EE5F4-1766-4AEF-B370-E937696E3108}"/>
                </a:ext>
              </a:extLst>
            </p:cNvPr>
            <p:cNvSpPr txBox="1"/>
            <p:nvPr/>
          </p:nvSpPr>
          <p:spPr>
            <a:xfrm>
              <a:off x="8011629" y="-81147"/>
              <a:ext cx="3238504" cy="4708981"/>
            </a:xfrm>
            <a:prstGeom prst="rect">
              <a:avLst/>
            </a:prstGeom>
            <a:noFill/>
          </p:spPr>
          <p:txBody>
            <a:bodyPr wrap="square" rtlCol="0">
              <a:spAutoFit/>
              <a:scene3d>
                <a:camera prst="perspectiveLeft" fov="4200000">
                  <a:rot lat="0" lon="19799993" rev="0"/>
                </a:camera>
                <a:lightRig rig="threePt" dir="t"/>
              </a:scene3d>
              <a:sp3d extrusionH="508000" prstMaterial="metal">
                <a:bevelT w="190500" h="190500"/>
              </a:sp3d>
            </a:bodyPr>
            <a:lstStyle/>
            <a:p>
              <a:pPr algn="ctr"/>
              <a:r>
                <a:rPr lang="en-US" sz="30000" dirty="0">
                  <a:solidFill>
                    <a:srgbClr val="C00000"/>
                  </a:solidFill>
                  <a:latin typeface="Arial Black" pitchFamily="34" charset="0"/>
                  <a:cs typeface="Arial" pitchFamily="34" charset="0"/>
                </a:rPr>
                <a:t>?</a:t>
              </a:r>
            </a:p>
          </p:txBody>
        </p:sp>
        <p:grpSp>
          <p:nvGrpSpPr>
            <p:cNvPr id="20" name="Group 19">
              <a:extLst>
                <a:ext uri="{FF2B5EF4-FFF2-40B4-BE49-F238E27FC236}">
                  <a16:creationId xmlns="" xmlns:a16="http://schemas.microsoft.com/office/drawing/2014/main" id="{8E20E9BF-9FB1-4951-B821-73B1BCE5C77C}"/>
                </a:ext>
              </a:extLst>
            </p:cNvPr>
            <p:cNvGrpSpPr>
              <a:grpSpLocks noChangeAspect="1"/>
            </p:cNvGrpSpPr>
            <p:nvPr/>
          </p:nvGrpSpPr>
          <p:grpSpPr>
            <a:xfrm>
              <a:off x="10047829" y="2816726"/>
              <a:ext cx="849905" cy="2060074"/>
              <a:chOff x="3157538" y="2109788"/>
              <a:chExt cx="677863" cy="1643063"/>
            </a:xfrm>
          </p:grpSpPr>
          <p:sp>
            <p:nvSpPr>
              <p:cNvPr id="21" name="Freeform 29">
                <a:extLst>
                  <a:ext uri="{FF2B5EF4-FFF2-40B4-BE49-F238E27FC236}">
                    <a16:creationId xmlns="" xmlns:a16="http://schemas.microsoft.com/office/drawing/2014/main" id="{DA1440EC-D469-4A46-A14D-2613DA6AB0A1}"/>
                  </a:ext>
                </a:extLst>
              </p:cNvPr>
              <p:cNvSpPr>
                <a:spLocks noEditPoints="1"/>
              </p:cNvSpPr>
              <p:nvPr/>
            </p:nvSpPr>
            <p:spPr bwMode="auto">
              <a:xfrm>
                <a:off x="3157538" y="2109788"/>
                <a:ext cx="677863" cy="1643063"/>
              </a:xfrm>
              <a:custGeom>
                <a:avLst/>
                <a:gdLst>
                  <a:gd name="T0" fmla="*/ 159 w 320"/>
                  <a:gd name="T1" fmla="*/ 699 h 776"/>
                  <a:gd name="T2" fmla="*/ 167 w 320"/>
                  <a:gd name="T3" fmla="*/ 726 h 776"/>
                  <a:gd name="T4" fmla="*/ 169 w 320"/>
                  <a:gd name="T5" fmla="*/ 740 h 776"/>
                  <a:gd name="T6" fmla="*/ 203 w 320"/>
                  <a:gd name="T7" fmla="*/ 754 h 776"/>
                  <a:gd name="T8" fmla="*/ 257 w 320"/>
                  <a:gd name="T9" fmla="*/ 760 h 776"/>
                  <a:gd name="T10" fmla="*/ 246 w 320"/>
                  <a:gd name="T11" fmla="*/ 740 h 776"/>
                  <a:gd name="T12" fmla="*/ 220 w 320"/>
                  <a:gd name="T13" fmla="*/ 716 h 776"/>
                  <a:gd name="T14" fmla="*/ 220 w 320"/>
                  <a:gd name="T15" fmla="*/ 647 h 776"/>
                  <a:gd name="T16" fmla="*/ 233 w 320"/>
                  <a:gd name="T17" fmla="*/ 423 h 776"/>
                  <a:gd name="T18" fmla="*/ 249 w 320"/>
                  <a:gd name="T19" fmla="*/ 399 h 776"/>
                  <a:gd name="T20" fmla="*/ 279 w 320"/>
                  <a:gd name="T21" fmla="*/ 409 h 776"/>
                  <a:gd name="T22" fmla="*/ 291 w 320"/>
                  <a:gd name="T23" fmla="*/ 399 h 776"/>
                  <a:gd name="T24" fmla="*/ 269 w 320"/>
                  <a:gd name="T25" fmla="*/ 229 h 776"/>
                  <a:gd name="T26" fmla="*/ 310 w 320"/>
                  <a:gd name="T27" fmla="*/ 214 h 776"/>
                  <a:gd name="T28" fmla="*/ 280 w 320"/>
                  <a:gd name="T29" fmla="*/ 106 h 776"/>
                  <a:gd name="T30" fmla="*/ 255 w 320"/>
                  <a:gd name="T31" fmla="*/ 74 h 776"/>
                  <a:gd name="T32" fmla="*/ 246 w 320"/>
                  <a:gd name="T33" fmla="*/ 65 h 776"/>
                  <a:gd name="T34" fmla="*/ 235 w 320"/>
                  <a:gd name="T35" fmla="*/ 62 h 776"/>
                  <a:gd name="T36" fmla="*/ 205 w 320"/>
                  <a:gd name="T37" fmla="*/ 15 h 776"/>
                  <a:gd name="T38" fmla="*/ 131 w 320"/>
                  <a:gd name="T39" fmla="*/ 48 h 776"/>
                  <a:gd name="T40" fmla="*/ 127 w 320"/>
                  <a:gd name="T41" fmla="*/ 94 h 776"/>
                  <a:gd name="T42" fmla="*/ 119 w 320"/>
                  <a:gd name="T43" fmla="*/ 98 h 776"/>
                  <a:gd name="T44" fmla="*/ 101 w 320"/>
                  <a:gd name="T45" fmla="*/ 111 h 776"/>
                  <a:gd name="T46" fmla="*/ 30 w 320"/>
                  <a:gd name="T47" fmla="*/ 149 h 776"/>
                  <a:gd name="T48" fmla="*/ 8 w 320"/>
                  <a:gd name="T49" fmla="*/ 265 h 776"/>
                  <a:gd name="T50" fmla="*/ 39 w 320"/>
                  <a:gd name="T51" fmla="*/ 422 h 776"/>
                  <a:gd name="T52" fmla="*/ 56 w 320"/>
                  <a:gd name="T53" fmla="*/ 427 h 776"/>
                  <a:gd name="T54" fmla="*/ 6 w 320"/>
                  <a:gd name="T55" fmla="*/ 754 h 776"/>
                  <a:gd name="T56" fmla="*/ 48 w 320"/>
                  <a:gd name="T57" fmla="*/ 771 h 776"/>
                  <a:gd name="T58" fmla="*/ 63 w 320"/>
                  <a:gd name="T59" fmla="*/ 739 h 776"/>
                  <a:gd name="T60" fmla="*/ 63 w 320"/>
                  <a:gd name="T61" fmla="*/ 730 h 776"/>
                  <a:gd name="T62" fmla="*/ 111 w 320"/>
                  <a:gd name="T63" fmla="*/ 603 h 776"/>
                  <a:gd name="T64" fmla="*/ 212 w 320"/>
                  <a:gd name="T65" fmla="*/ 89 h 776"/>
                  <a:gd name="T66" fmla="*/ 219 w 320"/>
                  <a:gd name="T67" fmla="*/ 94 h 776"/>
                  <a:gd name="T68" fmla="*/ 240 w 320"/>
                  <a:gd name="T69" fmla="*/ 109 h 776"/>
                  <a:gd name="T70" fmla="*/ 244 w 320"/>
                  <a:gd name="T71" fmla="*/ 127 h 776"/>
                  <a:gd name="T72" fmla="*/ 260 w 320"/>
                  <a:gd name="T73" fmla="*/ 158 h 776"/>
                  <a:gd name="T74" fmla="*/ 251 w 320"/>
                  <a:gd name="T75" fmla="*/ 149 h 776"/>
                  <a:gd name="T76" fmla="*/ 226 w 320"/>
                  <a:gd name="T77" fmla="*/ 135 h 776"/>
                  <a:gd name="T78" fmla="*/ 181 w 320"/>
                  <a:gd name="T79" fmla="*/ 125 h 776"/>
                  <a:gd name="T80" fmla="*/ 202 w 320"/>
                  <a:gd name="T81" fmla="*/ 101 h 776"/>
                  <a:gd name="T82" fmla="*/ 208 w 320"/>
                  <a:gd name="T83" fmla="*/ 86 h 776"/>
                  <a:gd name="T84" fmla="*/ 215 w 320"/>
                  <a:gd name="T85" fmla="*/ 70 h 776"/>
                  <a:gd name="T86" fmla="*/ 222 w 320"/>
                  <a:gd name="T87" fmla="*/ 74 h 776"/>
                  <a:gd name="T88" fmla="*/ 213 w 320"/>
                  <a:gd name="T89" fmla="*/ 76 h 776"/>
                  <a:gd name="T90" fmla="*/ 229 w 320"/>
                  <a:gd name="T91" fmla="*/ 81 h 776"/>
                  <a:gd name="T92" fmla="*/ 229 w 320"/>
                  <a:gd name="T93" fmla="*/ 81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776">
                    <a:moveTo>
                      <a:pt x="146" y="465"/>
                    </a:moveTo>
                    <a:cubicBezTo>
                      <a:pt x="146" y="465"/>
                      <a:pt x="158" y="671"/>
                      <a:pt x="159" y="699"/>
                    </a:cubicBezTo>
                    <a:cubicBezTo>
                      <a:pt x="160" y="728"/>
                      <a:pt x="159" y="726"/>
                      <a:pt x="159" y="726"/>
                    </a:cubicBezTo>
                    <a:cubicBezTo>
                      <a:pt x="167" y="726"/>
                      <a:pt x="167" y="726"/>
                      <a:pt x="167" y="726"/>
                    </a:cubicBezTo>
                    <a:cubicBezTo>
                      <a:pt x="167" y="726"/>
                      <a:pt x="167" y="730"/>
                      <a:pt x="168" y="733"/>
                    </a:cubicBezTo>
                    <a:cubicBezTo>
                      <a:pt x="169" y="736"/>
                      <a:pt x="166" y="738"/>
                      <a:pt x="169" y="740"/>
                    </a:cubicBezTo>
                    <a:cubicBezTo>
                      <a:pt x="172" y="743"/>
                      <a:pt x="188" y="747"/>
                      <a:pt x="191" y="747"/>
                    </a:cubicBezTo>
                    <a:cubicBezTo>
                      <a:pt x="193" y="747"/>
                      <a:pt x="198" y="748"/>
                      <a:pt x="203" y="754"/>
                    </a:cubicBezTo>
                    <a:cubicBezTo>
                      <a:pt x="207" y="760"/>
                      <a:pt x="219" y="767"/>
                      <a:pt x="229" y="768"/>
                    </a:cubicBezTo>
                    <a:cubicBezTo>
                      <a:pt x="238" y="768"/>
                      <a:pt x="257" y="763"/>
                      <a:pt x="257" y="760"/>
                    </a:cubicBezTo>
                    <a:cubicBezTo>
                      <a:pt x="257" y="757"/>
                      <a:pt x="255" y="756"/>
                      <a:pt x="255" y="756"/>
                    </a:cubicBezTo>
                    <a:cubicBezTo>
                      <a:pt x="255" y="756"/>
                      <a:pt x="256" y="749"/>
                      <a:pt x="246" y="740"/>
                    </a:cubicBezTo>
                    <a:cubicBezTo>
                      <a:pt x="237" y="731"/>
                      <a:pt x="226" y="725"/>
                      <a:pt x="222" y="720"/>
                    </a:cubicBezTo>
                    <a:cubicBezTo>
                      <a:pt x="219" y="715"/>
                      <a:pt x="220" y="716"/>
                      <a:pt x="220" y="716"/>
                    </a:cubicBezTo>
                    <a:cubicBezTo>
                      <a:pt x="223" y="717"/>
                      <a:pt x="223" y="717"/>
                      <a:pt x="223" y="717"/>
                    </a:cubicBezTo>
                    <a:cubicBezTo>
                      <a:pt x="223" y="717"/>
                      <a:pt x="219" y="675"/>
                      <a:pt x="220" y="647"/>
                    </a:cubicBezTo>
                    <a:cubicBezTo>
                      <a:pt x="221" y="619"/>
                      <a:pt x="227" y="523"/>
                      <a:pt x="229" y="503"/>
                    </a:cubicBezTo>
                    <a:cubicBezTo>
                      <a:pt x="232" y="482"/>
                      <a:pt x="234" y="433"/>
                      <a:pt x="233" y="423"/>
                    </a:cubicBezTo>
                    <a:cubicBezTo>
                      <a:pt x="232" y="413"/>
                      <a:pt x="231" y="412"/>
                      <a:pt x="231" y="412"/>
                    </a:cubicBezTo>
                    <a:cubicBezTo>
                      <a:pt x="231" y="412"/>
                      <a:pt x="235" y="401"/>
                      <a:pt x="249" y="399"/>
                    </a:cubicBezTo>
                    <a:cubicBezTo>
                      <a:pt x="262" y="398"/>
                      <a:pt x="270" y="398"/>
                      <a:pt x="270" y="398"/>
                    </a:cubicBezTo>
                    <a:cubicBezTo>
                      <a:pt x="270" y="398"/>
                      <a:pt x="273" y="404"/>
                      <a:pt x="279" y="409"/>
                    </a:cubicBezTo>
                    <a:cubicBezTo>
                      <a:pt x="285" y="414"/>
                      <a:pt x="290" y="414"/>
                      <a:pt x="290" y="414"/>
                    </a:cubicBezTo>
                    <a:cubicBezTo>
                      <a:pt x="290" y="414"/>
                      <a:pt x="292" y="406"/>
                      <a:pt x="291" y="399"/>
                    </a:cubicBezTo>
                    <a:cubicBezTo>
                      <a:pt x="291" y="391"/>
                      <a:pt x="277" y="315"/>
                      <a:pt x="275" y="296"/>
                    </a:cubicBezTo>
                    <a:cubicBezTo>
                      <a:pt x="273" y="277"/>
                      <a:pt x="269" y="229"/>
                      <a:pt x="269" y="229"/>
                    </a:cubicBezTo>
                    <a:cubicBezTo>
                      <a:pt x="285" y="221"/>
                      <a:pt x="285" y="221"/>
                      <a:pt x="285" y="221"/>
                    </a:cubicBezTo>
                    <a:cubicBezTo>
                      <a:pt x="285" y="221"/>
                      <a:pt x="303" y="220"/>
                      <a:pt x="310" y="214"/>
                    </a:cubicBezTo>
                    <a:cubicBezTo>
                      <a:pt x="317" y="208"/>
                      <a:pt x="320" y="202"/>
                      <a:pt x="315" y="179"/>
                    </a:cubicBezTo>
                    <a:cubicBezTo>
                      <a:pt x="310" y="157"/>
                      <a:pt x="287" y="117"/>
                      <a:pt x="280" y="106"/>
                    </a:cubicBezTo>
                    <a:cubicBezTo>
                      <a:pt x="273" y="94"/>
                      <a:pt x="267" y="94"/>
                      <a:pt x="267" y="94"/>
                    </a:cubicBezTo>
                    <a:cubicBezTo>
                      <a:pt x="267" y="94"/>
                      <a:pt x="257" y="77"/>
                      <a:pt x="255" y="74"/>
                    </a:cubicBezTo>
                    <a:cubicBezTo>
                      <a:pt x="252" y="70"/>
                      <a:pt x="252" y="73"/>
                      <a:pt x="251" y="71"/>
                    </a:cubicBezTo>
                    <a:cubicBezTo>
                      <a:pt x="250" y="70"/>
                      <a:pt x="248" y="67"/>
                      <a:pt x="246" y="65"/>
                    </a:cubicBezTo>
                    <a:cubicBezTo>
                      <a:pt x="243" y="64"/>
                      <a:pt x="242" y="65"/>
                      <a:pt x="239" y="64"/>
                    </a:cubicBezTo>
                    <a:cubicBezTo>
                      <a:pt x="237" y="64"/>
                      <a:pt x="239" y="63"/>
                      <a:pt x="235" y="62"/>
                    </a:cubicBezTo>
                    <a:cubicBezTo>
                      <a:pt x="232" y="61"/>
                      <a:pt x="231" y="55"/>
                      <a:pt x="228" y="51"/>
                    </a:cubicBezTo>
                    <a:cubicBezTo>
                      <a:pt x="225" y="47"/>
                      <a:pt x="227" y="30"/>
                      <a:pt x="205" y="15"/>
                    </a:cubicBezTo>
                    <a:cubicBezTo>
                      <a:pt x="182" y="0"/>
                      <a:pt x="162" y="3"/>
                      <a:pt x="150" y="12"/>
                    </a:cubicBezTo>
                    <a:cubicBezTo>
                      <a:pt x="137" y="22"/>
                      <a:pt x="132" y="44"/>
                      <a:pt x="131" y="48"/>
                    </a:cubicBezTo>
                    <a:cubicBezTo>
                      <a:pt x="130" y="52"/>
                      <a:pt x="130" y="63"/>
                      <a:pt x="130" y="77"/>
                    </a:cubicBezTo>
                    <a:cubicBezTo>
                      <a:pt x="131" y="91"/>
                      <a:pt x="127" y="94"/>
                      <a:pt x="127" y="94"/>
                    </a:cubicBezTo>
                    <a:cubicBezTo>
                      <a:pt x="127" y="94"/>
                      <a:pt x="123" y="92"/>
                      <a:pt x="121" y="94"/>
                    </a:cubicBezTo>
                    <a:cubicBezTo>
                      <a:pt x="119" y="96"/>
                      <a:pt x="119" y="98"/>
                      <a:pt x="119" y="98"/>
                    </a:cubicBezTo>
                    <a:cubicBezTo>
                      <a:pt x="119" y="98"/>
                      <a:pt x="117" y="96"/>
                      <a:pt x="113" y="100"/>
                    </a:cubicBezTo>
                    <a:cubicBezTo>
                      <a:pt x="109" y="105"/>
                      <a:pt x="102" y="111"/>
                      <a:pt x="101" y="111"/>
                    </a:cubicBezTo>
                    <a:cubicBezTo>
                      <a:pt x="99" y="111"/>
                      <a:pt x="45" y="118"/>
                      <a:pt x="41" y="121"/>
                    </a:cubicBezTo>
                    <a:cubicBezTo>
                      <a:pt x="36" y="124"/>
                      <a:pt x="35" y="138"/>
                      <a:pt x="30" y="149"/>
                    </a:cubicBezTo>
                    <a:cubicBezTo>
                      <a:pt x="25" y="160"/>
                      <a:pt x="4" y="210"/>
                      <a:pt x="3" y="223"/>
                    </a:cubicBezTo>
                    <a:cubicBezTo>
                      <a:pt x="1" y="236"/>
                      <a:pt x="0" y="260"/>
                      <a:pt x="8" y="265"/>
                    </a:cubicBezTo>
                    <a:cubicBezTo>
                      <a:pt x="16" y="269"/>
                      <a:pt x="53" y="277"/>
                      <a:pt x="53" y="277"/>
                    </a:cubicBezTo>
                    <a:cubicBezTo>
                      <a:pt x="39" y="422"/>
                      <a:pt x="39" y="422"/>
                      <a:pt x="39" y="422"/>
                    </a:cubicBezTo>
                    <a:cubicBezTo>
                      <a:pt x="39" y="422"/>
                      <a:pt x="50" y="426"/>
                      <a:pt x="52" y="427"/>
                    </a:cubicBezTo>
                    <a:cubicBezTo>
                      <a:pt x="54" y="427"/>
                      <a:pt x="56" y="427"/>
                      <a:pt x="56" y="427"/>
                    </a:cubicBezTo>
                    <a:cubicBezTo>
                      <a:pt x="56" y="427"/>
                      <a:pt x="22" y="718"/>
                      <a:pt x="19" y="722"/>
                    </a:cubicBezTo>
                    <a:cubicBezTo>
                      <a:pt x="17" y="725"/>
                      <a:pt x="5" y="746"/>
                      <a:pt x="6" y="754"/>
                    </a:cubicBezTo>
                    <a:cubicBezTo>
                      <a:pt x="6" y="762"/>
                      <a:pt x="6" y="769"/>
                      <a:pt x="9" y="771"/>
                    </a:cubicBezTo>
                    <a:cubicBezTo>
                      <a:pt x="11" y="774"/>
                      <a:pt x="42" y="776"/>
                      <a:pt x="48" y="771"/>
                    </a:cubicBezTo>
                    <a:cubicBezTo>
                      <a:pt x="54" y="766"/>
                      <a:pt x="53" y="750"/>
                      <a:pt x="55" y="747"/>
                    </a:cubicBezTo>
                    <a:cubicBezTo>
                      <a:pt x="57" y="745"/>
                      <a:pt x="62" y="742"/>
                      <a:pt x="63" y="739"/>
                    </a:cubicBezTo>
                    <a:cubicBezTo>
                      <a:pt x="64" y="736"/>
                      <a:pt x="63" y="735"/>
                      <a:pt x="63" y="735"/>
                    </a:cubicBezTo>
                    <a:cubicBezTo>
                      <a:pt x="63" y="735"/>
                      <a:pt x="64" y="732"/>
                      <a:pt x="63" y="730"/>
                    </a:cubicBezTo>
                    <a:cubicBezTo>
                      <a:pt x="62" y="728"/>
                      <a:pt x="71" y="726"/>
                      <a:pt x="71" y="726"/>
                    </a:cubicBezTo>
                    <a:cubicBezTo>
                      <a:pt x="71" y="726"/>
                      <a:pt x="101" y="648"/>
                      <a:pt x="111" y="603"/>
                    </a:cubicBezTo>
                    <a:cubicBezTo>
                      <a:pt x="120" y="558"/>
                      <a:pt x="146" y="465"/>
                      <a:pt x="146" y="465"/>
                    </a:cubicBezTo>
                    <a:close/>
                    <a:moveTo>
                      <a:pt x="212" y="89"/>
                    </a:moveTo>
                    <a:cubicBezTo>
                      <a:pt x="212" y="89"/>
                      <a:pt x="209" y="93"/>
                      <a:pt x="213" y="94"/>
                    </a:cubicBezTo>
                    <a:cubicBezTo>
                      <a:pt x="217" y="96"/>
                      <a:pt x="219" y="94"/>
                      <a:pt x="219" y="94"/>
                    </a:cubicBezTo>
                    <a:cubicBezTo>
                      <a:pt x="219" y="94"/>
                      <a:pt x="221" y="100"/>
                      <a:pt x="226" y="103"/>
                    </a:cubicBezTo>
                    <a:cubicBezTo>
                      <a:pt x="231" y="106"/>
                      <a:pt x="240" y="109"/>
                      <a:pt x="240" y="109"/>
                    </a:cubicBezTo>
                    <a:cubicBezTo>
                      <a:pt x="240" y="109"/>
                      <a:pt x="238" y="112"/>
                      <a:pt x="238" y="113"/>
                    </a:cubicBezTo>
                    <a:cubicBezTo>
                      <a:pt x="238" y="114"/>
                      <a:pt x="240" y="117"/>
                      <a:pt x="244" y="127"/>
                    </a:cubicBezTo>
                    <a:cubicBezTo>
                      <a:pt x="248" y="136"/>
                      <a:pt x="258" y="150"/>
                      <a:pt x="258" y="152"/>
                    </a:cubicBezTo>
                    <a:cubicBezTo>
                      <a:pt x="258" y="154"/>
                      <a:pt x="260" y="158"/>
                      <a:pt x="260" y="158"/>
                    </a:cubicBezTo>
                    <a:cubicBezTo>
                      <a:pt x="260" y="158"/>
                      <a:pt x="258" y="157"/>
                      <a:pt x="257" y="156"/>
                    </a:cubicBezTo>
                    <a:cubicBezTo>
                      <a:pt x="257" y="155"/>
                      <a:pt x="257" y="152"/>
                      <a:pt x="251" y="149"/>
                    </a:cubicBezTo>
                    <a:cubicBezTo>
                      <a:pt x="246" y="146"/>
                      <a:pt x="244" y="143"/>
                      <a:pt x="239" y="139"/>
                    </a:cubicBezTo>
                    <a:cubicBezTo>
                      <a:pt x="234" y="135"/>
                      <a:pt x="229" y="135"/>
                      <a:pt x="226" y="135"/>
                    </a:cubicBezTo>
                    <a:cubicBezTo>
                      <a:pt x="223" y="135"/>
                      <a:pt x="209" y="132"/>
                      <a:pt x="202" y="130"/>
                    </a:cubicBezTo>
                    <a:cubicBezTo>
                      <a:pt x="195" y="128"/>
                      <a:pt x="181" y="125"/>
                      <a:pt x="181" y="125"/>
                    </a:cubicBezTo>
                    <a:cubicBezTo>
                      <a:pt x="181" y="125"/>
                      <a:pt x="194" y="114"/>
                      <a:pt x="195" y="110"/>
                    </a:cubicBezTo>
                    <a:cubicBezTo>
                      <a:pt x="196" y="106"/>
                      <a:pt x="200" y="104"/>
                      <a:pt x="202" y="101"/>
                    </a:cubicBezTo>
                    <a:cubicBezTo>
                      <a:pt x="204" y="99"/>
                      <a:pt x="206" y="88"/>
                      <a:pt x="206" y="87"/>
                    </a:cubicBezTo>
                    <a:cubicBezTo>
                      <a:pt x="206" y="86"/>
                      <a:pt x="208" y="86"/>
                      <a:pt x="208" y="86"/>
                    </a:cubicBezTo>
                    <a:cubicBezTo>
                      <a:pt x="212" y="89"/>
                      <a:pt x="212" y="89"/>
                      <a:pt x="212" y="89"/>
                    </a:cubicBezTo>
                    <a:close/>
                    <a:moveTo>
                      <a:pt x="215" y="70"/>
                    </a:moveTo>
                    <a:cubicBezTo>
                      <a:pt x="215" y="70"/>
                      <a:pt x="222" y="69"/>
                      <a:pt x="224" y="69"/>
                    </a:cubicBezTo>
                    <a:cubicBezTo>
                      <a:pt x="227" y="69"/>
                      <a:pt x="225" y="71"/>
                      <a:pt x="222" y="74"/>
                    </a:cubicBezTo>
                    <a:cubicBezTo>
                      <a:pt x="220" y="76"/>
                      <a:pt x="217" y="80"/>
                      <a:pt x="217" y="79"/>
                    </a:cubicBezTo>
                    <a:cubicBezTo>
                      <a:pt x="216" y="78"/>
                      <a:pt x="213" y="76"/>
                      <a:pt x="213" y="76"/>
                    </a:cubicBezTo>
                    <a:cubicBezTo>
                      <a:pt x="215" y="70"/>
                      <a:pt x="215" y="70"/>
                      <a:pt x="215" y="70"/>
                    </a:cubicBezTo>
                    <a:close/>
                    <a:moveTo>
                      <a:pt x="229" y="81"/>
                    </a:moveTo>
                    <a:cubicBezTo>
                      <a:pt x="229" y="81"/>
                      <a:pt x="226" y="85"/>
                      <a:pt x="226" y="85"/>
                    </a:cubicBezTo>
                    <a:cubicBezTo>
                      <a:pt x="225" y="85"/>
                      <a:pt x="225" y="84"/>
                      <a:pt x="229"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0">
                <a:extLst>
                  <a:ext uri="{FF2B5EF4-FFF2-40B4-BE49-F238E27FC236}">
                    <a16:creationId xmlns="" xmlns:a16="http://schemas.microsoft.com/office/drawing/2014/main" id="{349B823C-5776-4DD5-A0F7-DE83566E2CEC}"/>
                  </a:ext>
                </a:extLst>
              </p:cNvPr>
              <p:cNvSpPr>
                <a:spLocks noEditPoints="1"/>
              </p:cNvSpPr>
              <p:nvPr/>
            </p:nvSpPr>
            <p:spPr bwMode="auto">
              <a:xfrm>
                <a:off x="3417888" y="2109788"/>
                <a:ext cx="315913" cy="304800"/>
              </a:xfrm>
              <a:custGeom>
                <a:avLst/>
                <a:gdLst>
                  <a:gd name="T0" fmla="*/ 144 w 149"/>
                  <a:gd name="T1" fmla="*/ 94 h 144"/>
                  <a:gd name="T2" fmla="*/ 132 w 149"/>
                  <a:gd name="T3" fmla="*/ 74 h 144"/>
                  <a:gd name="T4" fmla="*/ 128 w 149"/>
                  <a:gd name="T5" fmla="*/ 71 h 144"/>
                  <a:gd name="T6" fmla="*/ 123 w 149"/>
                  <a:gd name="T7" fmla="*/ 65 h 144"/>
                  <a:gd name="T8" fmla="*/ 116 w 149"/>
                  <a:gd name="T9" fmla="*/ 64 h 144"/>
                  <a:gd name="T10" fmla="*/ 112 w 149"/>
                  <a:gd name="T11" fmla="*/ 62 h 144"/>
                  <a:gd name="T12" fmla="*/ 105 w 149"/>
                  <a:gd name="T13" fmla="*/ 51 h 144"/>
                  <a:gd name="T14" fmla="*/ 82 w 149"/>
                  <a:gd name="T15" fmla="*/ 15 h 144"/>
                  <a:gd name="T16" fmla="*/ 27 w 149"/>
                  <a:gd name="T17" fmla="*/ 12 h 144"/>
                  <a:gd name="T18" fmla="*/ 8 w 149"/>
                  <a:gd name="T19" fmla="*/ 48 h 144"/>
                  <a:gd name="T20" fmla="*/ 7 w 149"/>
                  <a:gd name="T21" fmla="*/ 77 h 144"/>
                  <a:gd name="T22" fmla="*/ 4 w 149"/>
                  <a:gd name="T23" fmla="*/ 94 h 144"/>
                  <a:gd name="T24" fmla="*/ 1 w 149"/>
                  <a:gd name="T25" fmla="*/ 100 h 144"/>
                  <a:gd name="T26" fmla="*/ 3 w 149"/>
                  <a:gd name="T27" fmla="*/ 105 h 144"/>
                  <a:gd name="T28" fmla="*/ 17 w 149"/>
                  <a:gd name="T29" fmla="*/ 121 h 144"/>
                  <a:gd name="T30" fmla="*/ 27 w 149"/>
                  <a:gd name="T31" fmla="*/ 134 h 144"/>
                  <a:gd name="T32" fmla="*/ 35 w 149"/>
                  <a:gd name="T33" fmla="*/ 143 h 144"/>
                  <a:gd name="T34" fmla="*/ 38 w 149"/>
                  <a:gd name="T35" fmla="*/ 136 h 144"/>
                  <a:gd name="T36" fmla="*/ 47 w 149"/>
                  <a:gd name="T37" fmla="*/ 132 h 144"/>
                  <a:gd name="T38" fmla="*/ 53 w 149"/>
                  <a:gd name="T39" fmla="*/ 129 h 144"/>
                  <a:gd name="T40" fmla="*/ 57 w 149"/>
                  <a:gd name="T41" fmla="*/ 127 h 144"/>
                  <a:gd name="T42" fmla="*/ 58 w 149"/>
                  <a:gd name="T43" fmla="*/ 125 h 144"/>
                  <a:gd name="T44" fmla="*/ 72 w 149"/>
                  <a:gd name="T45" fmla="*/ 110 h 144"/>
                  <a:gd name="T46" fmla="*/ 79 w 149"/>
                  <a:gd name="T47" fmla="*/ 101 h 144"/>
                  <a:gd name="T48" fmla="*/ 83 w 149"/>
                  <a:gd name="T49" fmla="*/ 87 h 144"/>
                  <a:gd name="T50" fmla="*/ 85 w 149"/>
                  <a:gd name="T51" fmla="*/ 86 h 144"/>
                  <a:gd name="T52" fmla="*/ 89 w 149"/>
                  <a:gd name="T53" fmla="*/ 89 h 144"/>
                  <a:gd name="T54" fmla="*/ 90 w 149"/>
                  <a:gd name="T55" fmla="*/ 94 h 144"/>
                  <a:gd name="T56" fmla="*/ 96 w 149"/>
                  <a:gd name="T57" fmla="*/ 94 h 144"/>
                  <a:gd name="T58" fmla="*/ 103 w 149"/>
                  <a:gd name="T59" fmla="*/ 103 h 144"/>
                  <a:gd name="T60" fmla="*/ 117 w 149"/>
                  <a:gd name="T61" fmla="*/ 109 h 144"/>
                  <a:gd name="T62" fmla="*/ 123 w 149"/>
                  <a:gd name="T63" fmla="*/ 111 h 144"/>
                  <a:gd name="T64" fmla="*/ 134 w 149"/>
                  <a:gd name="T65" fmla="*/ 112 h 144"/>
                  <a:gd name="T66" fmla="*/ 146 w 149"/>
                  <a:gd name="T67" fmla="*/ 108 h 144"/>
                  <a:gd name="T68" fmla="*/ 148 w 149"/>
                  <a:gd name="T69" fmla="*/ 100 h 144"/>
                  <a:gd name="T70" fmla="*/ 144 w 149"/>
                  <a:gd name="T71" fmla="*/ 94 h 144"/>
                  <a:gd name="T72" fmla="*/ 92 w 149"/>
                  <a:gd name="T73" fmla="*/ 70 h 144"/>
                  <a:gd name="T74" fmla="*/ 101 w 149"/>
                  <a:gd name="T75" fmla="*/ 69 h 144"/>
                  <a:gd name="T76" fmla="*/ 99 w 149"/>
                  <a:gd name="T77" fmla="*/ 74 h 144"/>
                  <a:gd name="T78" fmla="*/ 94 w 149"/>
                  <a:gd name="T79" fmla="*/ 79 h 144"/>
                  <a:gd name="T80" fmla="*/ 90 w 149"/>
                  <a:gd name="T81" fmla="*/ 76 h 144"/>
                  <a:gd name="T82" fmla="*/ 92 w 149"/>
                  <a:gd name="T83" fmla="*/ 70 h 144"/>
                  <a:gd name="T84" fmla="*/ 106 w 149"/>
                  <a:gd name="T85" fmla="*/ 81 h 144"/>
                  <a:gd name="T86" fmla="*/ 103 w 149"/>
                  <a:gd name="T87" fmla="*/ 85 h 144"/>
                  <a:gd name="T88" fmla="*/ 106 w 149"/>
                  <a:gd name="T89"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44">
                    <a:moveTo>
                      <a:pt x="144" y="94"/>
                    </a:moveTo>
                    <a:cubicBezTo>
                      <a:pt x="144" y="94"/>
                      <a:pt x="134" y="77"/>
                      <a:pt x="132" y="74"/>
                    </a:cubicBezTo>
                    <a:cubicBezTo>
                      <a:pt x="129" y="70"/>
                      <a:pt x="129" y="73"/>
                      <a:pt x="128" y="71"/>
                    </a:cubicBezTo>
                    <a:cubicBezTo>
                      <a:pt x="127" y="70"/>
                      <a:pt x="125" y="67"/>
                      <a:pt x="123" y="65"/>
                    </a:cubicBezTo>
                    <a:cubicBezTo>
                      <a:pt x="120" y="64"/>
                      <a:pt x="119" y="65"/>
                      <a:pt x="116" y="64"/>
                    </a:cubicBezTo>
                    <a:cubicBezTo>
                      <a:pt x="114" y="64"/>
                      <a:pt x="116" y="63"/>
                      <a:pt x="112" y="62"/>
                    </a:cubicBezTo>
                    <a:cubicBezTo>
                      <a:pt x="109" y="61"/>
                      <a:pt x="108" y="55"/>
                      <a:pt x="105" y="51"/>
                    </a:cubicBezTo>
                    <a:cubicBezTo>
                      <a:pt x="102" y="47"/>
                      <a:pt x="104" y="30"/>
                      <a:pt x="82" y="15"/>
                    </a:cubicBezTo>
                    <a:cubicBezTo>
                      <a:pt x="59" y="0"/>
                      <a:pt x="39" y="3"/>
                      <a:pt x="27" y="12"/>
                    </a:cubicBezTo>
                    <a:cubicBezTo>
                      <a:pt x="14" y="22"/>
                      <a:pt x="9" y="44"/>
                      <a:pt x="8" y="48"/>
                    </a:cubicBezTo>
                    <a:cubicBezTo>
                      <a:pt x="7" y="52"/>
                      <a:pt x="7" y="63"/>
                      <a:pt x="7" y="77"/>
                    </a:cubicBezTo>
                    <a:cubicBezTo>
                      <a:pt x="8" y="91"/>
                      <a:pt x="4" y="94"/>
                      <a:pt x="4" y="94"/>
                    </a:cubicBezTo>
                    <a:cubicBezTo>
                      <a:pt x="4" y="94"/>
                      <a:pt x="2" y="100"/>
                      <a:pt x="1" y="100"/>
                    </a:cubicBezTo>
                    <a:cubicBezTo>
                      <a:pt x="1" y="101"/>
                      <a:pt x="0" y="102"/>
                      <a:pt x="3" y="105"/>
                    </a:cubicBezTo>
                    <a:cubicBezTo>
                      <a:pt x="6" y="108"/>
                      <a:pt x="15" y="120"/>
                      <a:pt x="17" y="121"/>
                    </a:cubicBezTo>
                    <a:cubicBezTo>
                      <a:pt x="18" y="123"/>
                      <a:pt x="26" y="133"/>
                      <a:pt x="27" y="134"/>
                    </a:cubicBezTo>
                    <a:cubicBezTo>
                      <a:pt x="27" y="135"/>
                      <a:pt x="35" y="142"/>
                      <a:pt x="35" y="143"/>
                    </a:cubicBezTo>
                    <a:cubicBezTo>
                      <a:pt x="36" y="144"/>
                      <a:pt x="37" y="138"/>
                      <a:pt x="38" y="136"/>
                    </a:cubicBezTo>
                    <a:cubicBezTo>
                      <a:pt x="40" y="135"/>
                      <a:pt x="45" y="132"/>
                      <a:pt x="47" y="132"/>
                    </a:cubicBezTo>
                    <a:cubicBezTo>
                      <a:pt x="49" y="132"/>
                      <a:pt x="52" y="130"/>
                      <a:pt x="53" y="129"/>
                    </a:cubicBezTo>
                    <a:cubicBezTo>
                      <a:pt x="54" y="129"/>
                      <a:pt x="57" y="128"/>
                      <a:pt x="57" y="127"/>
                    </a:cubicBezTo>
                    <a:cubicBezTo>
                      <a:pt x="58" y="126"/>
                      <a:pt x="58" y="125"/>
                      <a:pt x="58" y="125"/>
                    </a:cubicBezTo>
                    <a:cubicBezTo>
                      <a:pt x="58" y="125"/>
                      <a:pt x="71" y="114"/>
                      <a:pt x="72" y="110"/>
                    </a:cubicBezTo>
                    <a:cubicBezTo>
                      <a:pt x="73" y="106"/>
                      <a:pt x="77" y="104"/>
                      <a:pt x="79" y="101"/>
                    </a:cubicBezTo>
                    <a:cubicBezTo>
                      <a:pt x="81" y="99"/>
                      <a:pt x="83" y="88"/>
                      <a:pt x="83" y="87"/>
                    </a:cubicBezTo>
                    <a:cubicBezTo>
                      <a:pt x="83" y="86"/>
                      <a:pt x="85" y="86"/>
                      <a:pt x="85" y="86"/>
                    </a:cubicBezTo>
                    <a:cubicBezTo>
                      <a:pt x="89" y="89"/>
                      <a:pt x="89" y="89"/>
                      <a:pt x="89" y="89"/>
                    </a:cubicBezTo>
                    <a:cubicBezTo>
                      <a:pt x="89" y="89"/>
                      <a:pt x="86" y="93"/>
                      <a:pt x="90" y="94"/>
                    </a:cubicBezTo>
                    <a:cubicBezTo>
                      <a:pt x="94" y="96"/>
                      <a:pt x="96" y="94"/>
                      <a:pt x="96" y="94"/>
                    </a:cubicBezTo>
                    <a:cubicBezTo>
                      <a:pt x="96" y="94"/>
                      <a:pt x="98" y="100"/>
                      <a:pt x="103" y="103"/>
                    </a:cubicBezTo>
                    <a:cubicBezTo>
                      <a:pt x="108" y="106"/>
                      <a:pt x="117" y="109"/>
                      <a:pt x="117" y="109"/>
                    </a:cubicBezTo>
                    <a:cubicBezTo>
                      <a:pt x="117" y="109"/>
                      <a:pt x="118" y="110"/>
                      <a:pt x="123" y="111"/>
                    </a:cubicBezTo>
                    <a:cubicBezTo>
                      <a:pt x="128" y="112"/>
                      <a:pt x="131" y="113"/>
                      <a:pt x="134" y="112"/>
                    </a:cubicBezTo>
                    <a:cubicBezTo>
                      <a:pt x="137" y="110"/>
                      <a:pt x="143" y="108"/>
                      <a:pt x="146" y="108"/>
                    </a:cubicBezTo>
                    <a:cubicBezTo>
                      <a:pt x="148" y="108"/>
                      <a:pt x="149" y="101"/>
                      <a:pt x="148" y="100"/>
                    </a:cubicBezTo>
                    <a:cubicBezTo>
                      <a:pt x="148" y="99"/>
                      <a:pt x="144" y="96"/>
                      <a:pt x="144" y="94"/>
                    </a:cubicBezTo>
                    <a:close/>
                    <a:moveTo>
                      <a:pt x="92" y="70"/>
                    </a:moveTo>
                    <a:cubicBezTo>
                      <a:pt x="92" y="70"/>
                      <a:pt x="99" y="69"/>
                      <a:pt x="101" y="69"/>
                    </a:cubicBezTo>
                    <a:cubicBezTo>
                      <a:pt x="104" y="69"/>
                      <a:pt x="102" y="71"/>
                      <a:pt x="99" y="74"/>
                    </a:cubicBezTo>
                    <a:cubicBezTo>
                      <a:pt x="97" y="76"/>
                      <a:pt x="94" y="80"/>
                      <a:pt x="94" y="79"/>
                    </a:cubicBezTo>
                    <a:cubicBezTo>
                      <a:pt x="93" y="78"/>
                      <a:pt x="90" y="76"/>
                      <a:pt x="90" y="76"/>
                    </a:cubicBezTo>
                    <a:cubicBezTo>
                      <a:pt x="92" y="70"/>
                      <a:pt x="92" y="70"/>
                      <a:pt x="92" y="70"/>
                    </a:cubicBezTo>
                    <a:close/>
                    <a:moveTo>
                      <a:pt x="106" y="81"/>
                    </a:moveTo>
                    <a:cubicBezTo>
                      <a:pt x="106" y="81"/>
                      <a:pt x="103" y="85"/>
                      <a:pt x="103" y="85"/>
                    </a:cubicBezTo>
                    <a:cubicBezTo>
                      <a:pt x="102" y="85"/>
                      <a:pt x="102" y="84"/>
                      <a:pt x="106"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1">
                <a:extLst>
                  <a:ext uri="{FF2B5EF4-FFF2-40B4-BE49-F238E27FC236}">
                    <a16:creationId xmlns="" xmlns:a16="http://schemas.microsoft.com/office/drawing/2014/main" id="{7DC49B0F-D34A-4E16-947A-49B19A114249}"/>
                  </a:ext>
                </a:extLst>
              </p:cNvPr>
              <p:cNvSpPr>
                <a:spLocks/>
              </p:cNvSpPr>
              <p:nvPr/>
            </p:nvSpPr>
            <p:spPr bwMode="auto">
              <a:xfrm>
                <a:off x="3430588" y="2109788"/>
                <a:ext cx="207963" cy="193675"/>
              </a:xfrm>
              <a:custGeom>
                <a:avLst/>
                <a:gdLst>
                  <a:gd name="T0" fmla="*/ 98 w 98"/>
                  <a:gd name="T1" fmla="*/ 50 h 91"/>
                  <a:gd name="T2" fmla="*/ 76 w 98"/>
                  <a:gd name="T3" fmla="*/ 15 h 91"/>
                  <a:gd name="T4" fmla="*/ 21 w 98"/>
                  <a:gd name="T5" fmla="*/ 12 h 91"/>
                  <a:gd name="T6" fmla="*/ 2 w 98"/>
                  <a:gd name="T7" fmla="*/ 48 h 91"/>
                  <a:gd name="T8" fmla="*/ 1 w 98"/>
                  <a:gd name="T9" fmla="*/ 77 h 91"/>
                  <a:gd name="T10" fmla="*/ 0 w 98"/>
                  <a:gd name="T11" fmla="*/ 91 h 91"/>
                  <a:gd name="T12" fmla="*/ 6 w 98"/>
                  <a:gd name="T13" fmla="*/ 86 h 91"/>
                  <a:gd name="T14" fmla="*/ 2 w 98"/>
                  <a:gd name="T15" fmla="*/ 58 h 91"/>
                  <a:gd name="T16" fmla="*/ 10 w 98"/>
                  <a:gd name="T17" fmla="*/ 46 h 91"/>
                  <a:gd name="T18" fmla="*/ 18 w 98"/>
                  <a:gd name="T19" fmla="*/ 53 h 91"/>
                  <a:gd name="T20" fmla="*/ 20 w 98"/>
                  <a:gd name="T21" fmla="*/ 66 h 91"/>
                  <a:gd name="T22" fmla="*/ 21 w 98"/>
                  <a:gd name="T23" fmla="*/ 71 h 91"/>
                  <a:gd name="T24" fmla="*/ 32 w 98"/>
                  <a:gd name="T25" fmla="*/ 57 h 91"/>
                  <a:gd name="T26" fmla="*/ 42 w 98"/>
                  <a:gd name="T27" fmla="*/ 53 h 91"/>
                  <a:gd name="T28" fmla="*/ 49 w 98"/>
                  <a:gd name="T29" fmla="*/ 49 h 91"/>
                  <a:gd name="T30" fmla="*/ 54 w 98"/>
                  <a:gd name="T31" fmla="*/ 40 h 91"/>
                  <a:gd name="T32" fmla="*/ 62 w 98"/>
                  <a:gd name="T33" fmla="*/ 41 h 91"/>
                  <a:gd name="T34" fmla="*/ 57 w 98"/>
                  <a:gd name="T35" fmla="*/ 48 h 91"/>
                  <a:gd name="T36" fmla="*/ 65 w 98"/>
                  <a:gd name="T37" fmla="*/ 46 h 91"/>
                  <a:gd name="T38" fmla="*/ 66 w 98"/>
                  <a:gd name="T39" fmla="*/ 52 h 91"/>
                  <a:gd name="T40" fmla="*/ 71 w 98"/>
                  <a:gd name="T41" fmla="*/ 53 h 91"/>
                  <a:gd name="T42" fmla="*/ 72 w 98"/>
                  <a:gd name="T43" fmla="*/ 55 h 91"/>
                  <a:gd name="T44" fmla="*/ 76 w 98"/>
                  <a:gd name="T45" fmla="*/ 56 h 91"/>
                  <a:gd name="T46" fmla="*/ 76 w 98"/>
                  <a:gd name="T47" fmla="*/ 59 h 91"/>
                  <a:gd name="T48" fmla="*/ 81 w 98"/>
                  <a:gd name="T49" fmla="*/ 58 h 91"/>
                  <a:gd name="T50" fmla="*/ 83 w 98"/>
                  <a:gd name="T51" fmla="*/ 61 h 91"/>
                  <a:gd name="T52" fmla="*/ 87 w 98"/>
                  <a:gd name="T53" fmla="*/ 62 h 91"/>
                  <a:gd name="T54" fmla="*/ 94 w 98"/>
                  <a:gd name="T55" fmla="*/ 62 h 91"/>
                  <a:gd name="T56" fmla="*/ 95 w 98"/>
                  <a:gd name="T57" fmla="*/ 56 h 91"/>
                  <a:gd name="T58" fmla="*/ 98 w 98"/>
                  <a:gd name="T59" fmla="*/ 5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1">
                    <a:moveTo>
                      <a:pt x="98" y="50"/>
                    </a:moveTo>
                    <a:cubicBezTo>
                      <a:pt x="96" y="44"/>
                      <a:pt x="96" y="28"/>
                      <a:pt x="76" y="15"/>
                    </a:cubicBezTo>
                    <a:cubicBezTo>
                      <a:pt x="53" y="0"/>
                      <a:pt x="33" y="3"/>
                      <a:pt x="21" y="12"/>
                    </a:cubicBezTo>
                    <a:cubicBezTo>
                      <a:pt x="8" y="22"/>
                      <a:pt x="3" y="44"/>
                      <a:pt x="2" y="48"/>
                    </a:cubicBezTo>
                    <a:cubicBezTo>
                      <a:pt x="1" y="52"/>
                      <a:pt x="1" y="63"/>
                      <a:pt x="1" y="77"/>
                    </a:cubicBezTo>
                    <a:cubicBezTo>
                      <a:pt x="1" y="83"/>
                      <a:pt x="1" y="88"/>
                      <a:pt x="0" y="91"/>
                    </a:cubicBezTo>
                    <a:cubicBezTo>
                      <a:pt x="0" y="91"/>
                      <a:pt x="5" y="90"/>
                      <a:pt x="6" y="86"/>
                    </a:cubicBezTo>
                    <a:cubicBezTo>
                      <a:pt x="7" y="81"/>
                      <a:pt x="0" y="70"/>
                      <a:pt x="2" y="58"/>
                    </a:cubicBezTo>
                    <a:cubicBezTo>
                      <a:pt x="5" y="46"/>
                      <a:pt x="8" y="45"/>
                      <a:pt x="10" y="46"/>
                    </a:cubicBezTo>
                    <a:cubicBezTo>
                      <a:pt x="12" y="46"/>
                      <a:pt x="17" y="48"/>
                      <a:pt x="18" y="53"/>
                    </a:cubicBezTo>
                    <a:cubicBezTo>
                      <a:pt x="20" y="58"/>
                      <a:pt x="21" y="64"/>
                      <a:pt x="20" y="66"/>
                    </a:cubicBezTo>
                    <a:cubicBezTo>
                      <a:pt x="19" y="68"/>
                      <a:pt x="19" y="72"/>
                      <a:pt x="21" y="71"/>
                    </a:cubicBezTo>
                    <a:cubicBezTo>
                      <a:pt x="24" y="70"/>
                      <a:pt x="28" y="60"/>
                      <a:pt x="32" y="57"/>
                    </a:cubicBezTo>
                    <a:cubicBezTo>
                      <a:pt x="35" y="54"/>
                      <a:pt x="39" y="53"/>
                      <a:pt x="42" y="53"/>
                    </a:cubicBezTo>
                    <a:cubicBezTo>
                      <a:pt x="46" y="53"/>
                      <a:pt x="49" y="53"/>
                      <a:pt x="49" y="49"/>
                    </a:cubicBezTo>
                    <a:cubicBezTo>
                      <a:pt x="49" y="46"/>
                      <a:pt x="52" y="41"/>
                      <a:pt x="54" y="40"/>
                    </a:cubicBezTo>
                    <a:cubicBezTo>
                      <a:pt x="56" y="40"/>
                      <a:pt x="60" y="42"/>
                      <a:pt x="62" y="41"/>
                    </a:cubicBezTo>
                    <a:cubicBezTo>
                      <a:pt x="63" y="40"/>
                      <a:pt x="52" y="49"/>
                      <a:pt x="57" y="48"/>
                    </a:cubicBezTo>
                    <a:cubicBezTo>
                      <a:pt x="61" y="46"/>
                      <a:pt x="67" y="43"/>
                      <a:pt x="65" y="46"/>
                    </a:cubicBezTo>
                    <a:cubicBezTo>
                      <a:pt x="63" y="50"/>
                      <a:pt x="60" y="55"/>
                      <a:pt x="66" y="52"/>
                    </a:cubicBezTo>
                    <a:cubicBezTo>
                      <a:pt x="72" y="48"/>
                      <a:pt x="72" y="50"/>
                      <a:pt x="71" y="53"/>
                    </a:cubicBezTo>
                    <a:cubicBezTo>
                      <a:pt x="70" y="55"/>
                      <a:pt x="69" y="58"/>
                      <a:pt x="72" y="55"/>
                    </a:cubicBezTo>
                    <a:cubicBezTo>
                      <a:pt x="76" y="52"/>
                      <a:pt x="78" y="52"/>
                      <a:pt x="76" y="56"/>
                    </a:cubicBezTo>
                    <a:cubicBezTo>
                      <a:pt x="74" y="59"/>
                      <a:pt x="73" y="61"/>
                      <a:pt x="76" y="59"/>
                    </a:cubicBezTo>
                    <a:cubicBezTo>
                      <a:pt x="79" y="56"/>
                      <a:pt x="81" y="57"/>
                      <a:pt x="81" y="58"/>
                    </a:cubicBezTo>
                    <a:cubicBezTo>
                      <a:pt x="81" y="60"/>
                      <a:pt x="80" y="63"/>
                      <a:pt x="83" y="61"/>
                    </a:cubicBezTo>
                    <a:cubicBezTo>
                      <a:pt x="87" y="59"/>
                      <a:pt x="87" y="61"/>
                      <a:pt x="87" y="62"/>
                    </a:cubicBezTo>
                    <a:cubicBezTo>
                      <a:pt x="88" y="62"/>
                      <a:pt x="93" y="63"/>
                      <a:pt x="94" y="62"/>
                    </a:cubicBezTo>
                    <a:cubicBezTo>
                      <a:pt x="96" y="61"/>
                      <a:pt x="96" y="57"/>
                      <a:pt x="95" y="56"/>
                    </a:cubicBezTo>
                    <a:cubicBezTo>
                      <a:pt x="94" y="55"/>
                      <a:pt x="95" y="49"/>
                      <a:pt x="98"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
                <a:extLst>
                  <a:ext uri="{FF2B5EF4-FFF2-40B4-BE49-F238E27FC236}">
                    <a16:creationId xmlns="" xmlns:a16="http://schemas.microsoft.com/office/drawing/2014/main" id="{F7A6C833-2A60-48B9-8026-F7DFA5E655A5}"/>
                  </a:ext>
                </a:extLst>
              </p:cNvPr>
              <p:cNvSpPr>
                <a:spLocks noEditPoints="1"/>
              </p:cNvSpPr>
              <p:nvPr/>
            </p:nvSpPr>
            <p:spPr bwMode="auto">
              <a:xfrm>
                <a:off x="3665538" y="2316163"/>
                <a:ext cx="77788" cy="34925"/>
              </a:xfrm>
              <a:custGeom>
                <a:avLst/>
                <a:gdLst>
                  <a:gd name="T0" fmla="*/ 1 w 36"/>
                  <a:gd name="T1" fmla="*/ 12 h 17"/>
                  <a:gd name="T2" fmla="*/ 2 w 36"/>
                  <a:gd name="T3" fmla="*/ 16 h 17"/>
                  <a:gd name="T4" fmla="*/ 13 w 36"/>
                  <a:gd name="T5" fmla="*/ 15 h 17"/>
                  <a:gd name="T6" fmla="*/ 6 w 36"/>
                  <a:gd name="T7" fmla="*/ 14 h 17"/>
                  <a:gd name="T8" fmla="*/ 1 w 36"/>
                  <a:gd name="T9" fmla="*/ 12 h 17"/>
                  <a:gd name="T10" fmla="*/ 18 w 36"/>
                  <a:gd name="T11" fmla="*/ 14 h 17"/>
                  <a:gd name="T12" fmla="*/ 25 w 36"/>
                  <a:gd name="T13" fmla="*/ 15 h 17"/>
                  <a:gd name="T14" fmla="*/ 35 w 36"/>
                  <a:gd name="T15" fmla="*/ 11 h 17"/>
                  <a:gd name="T16" fmla="*/ 29 w 36"/>
                  <a:gd name="T17" fmla="*/ 0 h 17"/>
                  <a:gd name="T18" fmla="*/ 29 w 36"/>
                  <a:gd name="T19" fmla="*/ 0 h 17"/>
                  <a:gd name="T20" fmla="*/ 31 w 36"/>
                  <a:gd name="T21" fmla="*/ 3 h 17"/>
                  <a:gd name="T22" fmla="*/ 29 w 36"/>
                  <a:gd name="T23" fmla="*/ 11 h 17"/>
                  <a:gd name="T24" fmla="*/ 18 w 36"/>
                  <a:gd name="T2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7">
                    <a:moveTo>
                      <a:pt x="1" y="12"/>
                    </a:moveTo>
                    <a:cubicBezTo>
                      <a:pt x="0" y="14"/>
                      <a:pt x="0" y="15"/>
                      <a:pt x="2" y="16"/>
                    </a:cubicBezTo>
                    <a:cubicBezTo>
                      <a:pt x="4" y="17"/>
                      <a:pt x="9" y="16"/>
                      <a:pt x="13" y="15"/>
                    </a:cubicBezTo>
                    <a:cubicBezTo>
                      <a:pt x="11" y="15"/>
                      <a:pt x="9" y="14"/>
                      <a:pt x="6" y="14"/>
                    </a:cubicBezTo>
                    <a:cubicBezTo>
                      <a:pt x="3" y="13"/>
                      <a:pt x="2" y="13"/>
                      <a:pt x="1" y="12"/>
                    </a:cubicBezTo>
                    <a:close/>
                    <a:moveTo>
                      <a:pt x="18" y="14"/>
                    </a:moveTo>
                    <a:cubicBezTo>
                      <a:pt x="20" y="15"/>
                      <a:pt x="22" y="15"/>
                      <a:pt x="25" y="15"/>
                    </a:cubicBezTo>
                    <a:cubicBezTo>
                      <a:pt x="30" y="15"/>
                      <a:pt x="34" y="12"/>
                      <a:pt x="35" y="11"/>
                    </a:cubicBezTo>
                    <a:cubicBezTo>
                      <a:pt x="36" y="9"/>
                      <a:pt x="35" y="1"/>
                      <a:pt x="29" y="0"/>
                    </a:cubicBezTo>
                    <a:cubicBezTo>
                      <a:pt x="29" y="0"/>
                      <a:pt x="29" y="0"/>
                      <a:pt x="29" y="0"/>
                    </a:cubicBezTo>
                    <a:cubicBezTo>
                      <a:pt x="30" y="1"/>
                      <a:pt x="31" y="2"/>
                      <a:pt x="31" y="3"/>
                    </a:cubicBezTo>
                    <a:cubicBezTo>
                      <a:pt x="32" y="4"/>
                      <a:pt x="31" y="11"/>
                      <a:pt x="29" y="11"/>
                    </a:cubicBezTo>
                    <a:cubicBezTo>
                      <a:pt x="26" y="11"/>
                      <a:pt x="21" y="13"/>
                      <a:pt x="18" y="14"/>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4">
                <a:extLst>
                  <a:ext uri="{FF2B5EF4-FFF2-40B4-BE49-F238E27FC236}">
                    <a16:creationId xmlns="" xmlns:a16="http://schemas.microsoft.com/office/drawing/2014/main" id="{324F070E-EEE3-4A1E-8D08-B6802F8F2A2A}"/>
                  </a:ext>
                </a:extLst>
              </p:cNvPr>
              <p:cNvSpPr>
                <a:spLocks/>
              </p:cNvSpPr>
              <p:nvPr/>
            </p:nvSpPr>
            <p:spPr bwMode="auto">
              <a:xfrm>
                <a:off x="3511550" y="2493963"/>
                <a:ext cx="322263" cy="146050"/>
              </a:xfrm>
              <a:custGeom>
                <a:avLst/>
                <a:gdLst>
                  <a:gd name="T0" fmla="*/ 6 w 152"/>
                  <a:gd name="T1" fmla="*/ 53 h 69"/>
                  <a:gd name="T2" fmla="*/ 16 w 152"/>
                  <a:gd name="T3" fmla="*/ 50 h 69"/>
                  <a:gd name="T4" fmla="*/ 75 w 152"/>
                  <a:gd name="T5" fmla="*/ 10 h 69"/>
                  <a:gd name="T6" fmla="*/ 89 w 152"/>
                  <a:gd name="T7" fmla="*/ 0 h 69"/>
                  <a:gd name="T8" fmla="*/ 152 w 152"/>
                  <a:gd name="T9" fmla="*/ 19 h 69"/>
                  <a:gd name="T10" fmla="*/ 152 w 152"/>
                  <a:gd name="T11" fmla="*/ 23 h 69"/>
                  <a:gd name="T12" fmla="*/ 117 w 152"/>
                  <a:gd name="T13" fmla="*/ 41 h 69"/>
                  <a:gd name="T14" fmla="*/ 49 w 152"/>
                  <a:gd name="T15" fmla="*/ 69 h 69"/>
                  <a:gd name="T16" fmla="*/ 6 w 152"/>
                  <a:gd name="T17"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9">
                    <a:moveTo>
                      <a:pt x="6" y="53"/>
                    </a:moveTo>
                    <a:cubicBezTo>
                      <a:pt x="9" y="52"/>
                      <a:pt x="12" y="51"/>
                      <a:pt x="16" y="50"/>
                    </a:cubicBezTo>
                    <a:cubicBezTo>
                      <a:pt x="16" y="50"/>
                      <a:pt x="70" y="14"/>
                      <a:pt x="75" y="10"/>
                    </a:cubicBezTo>
                    <a:cubicBezTo>
                      <a:pt x="80" y="7"/>
                      <a:pt x="89" y="0"/>
                      <a:pt x="89" y="0"/>
                    </a:cubicBezTo>
                    <a:cubicBezTo>
                      <a:pt x="89" y="0"/>
                      <a:pt x="129" y="17"/>
                      <a:pt x="152" y="19"/>
                    </a:cubicBezTo>
                    <a:cubicBezTo>
                      <a:pt x="152" y="23"/>
                      <a:pt x="152" y="23"/>
                      <a:pt x="152" y="23"/>
                    </a:cubicBezTo>
                    <a:cubicBezTo>
                      <a:pt x="140" y="29"/>
                      <a:pt x="128" y="35"/>
                      <a:pt x="117" y="41"/>
                    </a:cubicBezTo>
                    <a:cubicBezTo>
                      <a:pt x="94" y="50"/>
                      <a:pt x="72" y="59"/>
                      <a:pt x="49" y="69"/>
                    </a:cubicBezTo>
                    <a:cubicBezTo>
                      <a:pt x="49" y="69"/>
                      <a:pt x="0" y="61"/>
                      <a:pt x="6" y="53"/>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5">
                <a:extLst>
                  <a:ext uri="{FF2B5EF4-FFF2-40B4-BE49-F238E27FC236}">
                    <a16:creationId xmlns="" xmlns:a16="http://schemas.microsoft.com/office/drawing/2014/main" id="{8DF30566-0ABF-47E0-BFA1-F9DB4FEF226D}"/>
                  </a:ext>
                </a:extLst>
              </p:cNvPr>
              <p:cNvSpPr>
                <a:spLocks noEditPoints="1"/>
              </p:cNvSpPr>
              <p:nvPr/>
            </p:nvSpPr>
            <p:spPr bwMode="auto">
              <a:xfrm>
                <a:off x="3509963" y="2493963"/>
                <a:ext cx="323850" cy="146050"/>
              </a:xfrm>
              <a:custGeom>
                <a:avLst/>
                <a:gdLst>
                  <a:gd name="T0" fmla="*/ 6 w 153"/>
                  <a:gd name="T1" fmla="*/ 52 h 69"/>
                  <a:gd name="T2" fmla="*/ 16 w 153"/>
                  <a:gd name="T3" fmla="*/ 49 h 69"/>
                  <a:gd name="T4" fmla="*/ 76 w 153"/>
                  <a:gd name="T5" fmla="*/ 10 h 69"/>
                  <a:gd name="T6" fmla="*/ 90 w 153"/>
                  <a:gd name="T7" fmla="*/ 0 h 69"/>
                  <a:gd name="T8" fmla="*/ 90 w 153"/>
                  <a:gd name="T9" fmla="*/ 0 h 69"/>
                  <a:gd name="T10" fmla="*/ 91 w 153"/>
                  <a:gd name="T11" fmla="*/ 0 h 69"/>
                  <a:gd name="T12" fmla="*/ 153 w 153"/>
                  <a:gd name="T13" fmla="*/ 18 h 69"/>
                  <a:gd name="T14" fmla="*/ 153 w 153"/>
                  <a:gd name="T15" fmla="*/ 18 h 69"/>
                  <a:gd name="T16" fmla="*/ 153 w 153"/>
                  <a:gd name="T17" fmla="*/ 19 h 69"/>
                  <a:gd name="T18" fmla="*/ 153 w 153"/>
                  <a:gd name="T19" fmla="*/ 23 h 69"/>
                  <a:gd name="T20" fmla="*/ 153 w 153"/>
                  <a:gd name="T21" fmla="*/ 23 h 69"/>
                  <a:gd name="T22" fmla="*/ 153 w 153"/>
                  <a:gd name="T23" fmla="*/ 24 h 69"/>
                  <a:gd name="T24" fmla="*/ 118 w 153"/>
                  <a:gd name="T25" fmla="*/ 41 h 69"/>
                  <a:gd name="T26" fmla="*/ 118 w 153"/>
                  <a:gd name="T27" fmla="*/ 41 h 69"/>
                  <a:gd name="T28" fmla="*/ 50 w 153"/>
                  <a:gd name="T29" fmla="*/ 69 h 69"/>
                  <a:gd name="T30" fmla="*/ 50 w 153"/>
                  <a:gd name="T31" fmla="*/ 69 h 69"/>
                  <a:gd name="T32" fmla="*/ 50 w 153"/>
                  <a:gd name="T33" fmla="*/ 69 h 69"/>
                  <a:gd name="T34" fmla="*/ 6 w 153"/>
                  <a:gd name="T35" fmla="*/ 53 h 69"/>
                  <a:gd name="T36" fmla="*/ 6 w 153"/>
                  <a:gd name="T37" fmla="*/ 52 h 69"/>
                  <a:gd name="T38" fmla="*/ 6 w 153"/>
                  <a:gd name="T39" fmla="*/ 52 h 69"/>
                  <a:gd name="T40" fmla="*/ 17 w 153"/>
                  <a:gd name="T41" fmla="*/ 50 h 69"/>
                  <a:gd name="T42" fmla="*/ 7 w 153"/>
                  <a:gd name="T43" fmla="*/ 53 h 69"/>
                  <a:gd name="T44" fmla="*/ 50 w 153"/>
                  <a:gd name="T45" fmla="*/ 68 h 69"/>
                  <a:gd name="T46" fmla="*/ 118 w 153"/>
                  <a:gd name="T47" fmla="*/ 41 h 69"/>
                  <a:gd name="T48" fmla="*/ 152 w 153"/>
                  <a:gd name="T49" fmla="*/ 23 h 69"/>
                  <a:gd name="T50" fmla="*/ 152 w 153"/>
                  <a:gd name="T51" fmla="*/ 19 h 69"/>
                  <a:gd name="T52" fmla="*/ 91 w 153"/>
                  <a:gd name="T53" fmla="*/ 1 h 69"/>
                  <a:gd name="T54" fmla="*/ 76 w 153"/>
                  <a:gd name="T55" fmla="*/ 11 h 69"/>
                  <a:gd name="T56" fmla="*/ 17 w 153"/>
                  <a:gd name="T57" fmla="*/ 50 h 69"/>
                  <a:gd name="T58" fmla="*/ 17 w 153"/>
                  <a:gd name="T59"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69">
                    <a:moveTo>
                      <a:pt x="6" y="52"/>
                    </a:moveTo>
                    <a:cubicBezTo>
                      <a:pt x="16" y="49"/>
                      <a:pt x="16" y="49"/>
                      <a:pt x="16" y="49"/>
                    </a:cubicBezTo>
                    <a:cubicBezTo>
                      <a:pt x="18" y="48"/>
                      <a:pt x="71" y="14"/>
                      <a:pt x="76" y="10"/>
                    </a:cubicBezTo>
                    <a:cubicBezTo>
                      <a:pt x="80" y="7"/>
                      <a:pt x="90" y="0"/>
                      <a:pt x="90" y="0"/>
                    </a:cubicBezTo>
                    <a:cubicBezTo>
                      <a:pt x="90" y="0"/>
                      <a:pt x="90" y="0"/>
                      <a:pt x="90" y="0"/>
                    </a:cubicBezTo>
                    <a:cubicBezTo>
                      <a:pt x="91" y="0"/>
                      <a:pt x="91" y="0"/>
                      <a:pt x="91" y="0"/>
                    </a:cubicBezTo>
                    <a:cubicBezTo>
                      <a:pt x="91" y="0"/>
                      <a:pt x="130" y="16"/>
                      <a:pt x="153" y="18"/>
                    </a:cubicBezTo>
                    <a:cubicBezTo>
                      <a:pt x="153" y="18"/>
                      <a:pt x="153" y="18"/>
                      <a:pt x="153" y="18"/>
                    </a:cubicBezTo>
                    <a:cubicBezTo>
                      <a:pt x="153" y="19"/>
                      <a:pt x="153" y="19"/>
                      <a:pt x="153" y="19"/>
                    </a:cubicBezTo>
                    <a:cubicBezTo>
                      <a:pt x="153" y="23"/>
                      <a:pt x="153" y="23"/>
                      <a:pt x="153" y="23"/>
                    </a:cubicBezTo>
                    <a:cubicBezTo>
                      <a:pt x="153" y="23"/>
                      <a:pt x="153" y="23"/>
                      <a:pt x="153" y="23"/>
                    </a:cubicBezTo>
                    <a:cubicBezTo>
                      <a:pt x="153" y="24"/>
                      <a:pt x="153" y="24"/>
                      <a:pt x="153" y="24"/>
                    </a:cubicBezTo>
                    <a:cubicBezTo>
                      <a:pt x="118" y="41"/>
                      <a:pt x="118" y="41"/>
                      <a:pt x="118" y="41"/>
                    </a:cubicBezTo>
                    <a:cubicBezTo>
                      <a:pt x="118" y="41"/>
                      <a:pt x="118" y="41"/>
                      <a:pt x="118" y="41"/>
                    </a:cubicBezTo>
                    <a:cubicBezTo>
                      <a:pt x="50" y="69"/>
                      <a:pt x="50" y="69"/>
                      <a:pt x="50" y="69"/>
                    </a:cubicBezTo>
                    <a:cubicBezTo>
                      <a:pt x="50" y="69"/>
                      <a:pt x="50" y="69"/>
                      <a:pt x="50" y="69"/>
                    </a:cubicBezTo>
                    <a:cubicBezTo>
                      <a:pt x="50" y="69"/>
                      <a:pt x="50" y="69"/>
                      <a:pt x="50" y="69"/>
                    </a:cubicBezTo>
                    <a:cubicBezTo>
                      <a:pt x="50" y="69"/>
                      <a:pt x="0" y="61"/>
                      <a:pt x="6" y="53"/>
                    </a:cubicBezTo>
                    <a:cubicBezTo>
                      <a:pt x="6" y="52"/>
                      <a:pt x="6" y="52"/>
                      <a:pt x="6" y="52"/>
                    </a:cubicBezTo>
                    <a:cubicBezTo>
                      <a:pt x="6" y="52"/>
                      <a:pt x="6" y="52"/>
                      <a:pt x="6" y="52"/>
                    </a:cubicBezTo>
                    <a:close/>
                    <a:moveTo>
                      <a:pt x="17" y="50"/>
                    </a:moveTo>
                    <a:cubicBezTo>
                      <a:pt x="7" y="53"/>
                      <a:pt x="7" y="53"/>
                      <a:pt x="7" y="53"/>
                    </a:cubicBezTo>
                    <a:cubicBezTo>
                      <a:pt x="2" y="60"/>
                      <a:pt x="48" y="68"/>
                      <a:pt x="50" y="68"/>
                    </a:cubicBezTo>
                    <a:cubicBezTo>
                      <a:pt x="118" y="41"/>
                      <a:pt x="118" y="41"/>
                      <a:pt x="118" y="41"/>
                    </a:cubicBezTo>
                    <a:cubicBezTo>
                      <a:pt x="152" y="23"/>
                      <a:pt x="152" y="23"/>
                      <a:pt x="152" y="23"/>
                    </a:cubicBezTo>
                    <a:cubicBezTo>
                      <a:pt x="152" y="19"/>
                      <a:pt x="152" y="19"/>
                      <a:pt x="152" y="19"/>
                    </a:cubicBezTo>
                    <a:cubicBezTo>
                      <a:pt x="131" y="17"/>
                      <a:pt x="93" y="2"/>
                      <a:pt x="91" y="1"/>
                    </a:cubicBezTo>
                    <a:cubicBezTo>
                      <a:pt x="89" y="1"/>
                      <a:pt x="80" y="7"/>
                      <a:pt x="76" y="11"/>
                    </a:cubicBezTo>
                    <a:cubicBezTo>
                      <a:pt x="71" y="14"/>
                      <a:pt x="17" y="50"/>
                      <a:pt x="17" y="50"/>
                    </a:cubicBezTo>
                    <a:cubicBezTo>
                      <a:pt x="17" y="50"/>
                      <a:pt x="17" y="50"/>
                      <a:pt x="17"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6">
                <a:extLst>
                  <a:ext uri="{FF2B5EF4-FFF2-40B4-BE49-F238E27FC236}">
                    <a16:creationId xmlns="" xmlns:a16="http://schemas.microsoft.com/office/drawing/2014/main" id="{6A70D6DD-FFC9-449F-BB1F-738F9A3E8A34}"/>
                  </a:ext>
                </a:extLst>
              </p:cNvPr>
              <p:cNvSpPr>
                <a:spLocks/>
              </p:cNvSpPr>
              <p:nvPr/>
            </p:nvSpPr>
            <p:spPr bwMode="auto">
              <a:xfrm>
                <a:off x="3530600" y="2514600"/>
                <a:ext cx="303213" cy="95250"/>
              </a:xfrm>
              <a:custGeom>
                <a:avLst/>
                <a:gdLst>
                  <a:gd name="T0" fmla="*/ 0 w 191"/>
                  <a:gd name="T1" fmla="*/ 59 h 60"/>
                  <a:gd name="T2" fmla="*/ 110 w 191"/>
                  <a:gd name="T3" fmla="*/ 0 h 60"/>
                  <a:gd name="T4" fmla="*/ 191 w 191"/>
                  <a:gd name="T5" fmla="*/ 12 h 60"/>
                  <a:gd name="T6" fmla="*/ 191 w 191"/>
                  <a:gd name="T7" fmla="*/ 17 h 60"/>
                  <a:gd name="T8" fmla="*/ 111 w 191"/>
                  <a:gd name="T9" fmla="*/ 7 h 60"/>
                  <a:gd name="T10" fmla="*/ 8 w 191"/>
                  <a:gd name="T11" fmla="*/ 60 h 60"/>
                  <a:gd name="T12" fmla="*/ 0 w 19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91" h="60">
                    <a:moveTo>
                      <a:pt x="0" y="59"/>
                    </a:moveTo>
                    <a:lnTo>
                      <a:pt x="110" y="0"/>
                    </a:lnTo>
                    <a:lnTo>
                      <a:pt x="191" y="12"/>
                    </a:lnTo>
                    <a:lnTo>
                      <a:pt x="191" y="17"/>
                    </a:lnTo>
                    <a:lnTo>
                      <a:pt x="111" y="7"/>
                    </a:lnTo>
                    <a:lnTo>
                      <a:pt x="8" y="60"/>
                    </a:lnTo>
                    <a:lnTo>
                      <a:pt x="0" y="59"/>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7">
                <a:extLst>
                  <a:ext uri="{FF2B5EF4-FFF2-40B4-BE49-F238E27FC236}">
                    <a16:creationId xmlns="" xmlns:a16="http://schemas.microsoft.com/office/drawing/2014/main" id="{C72AA5A8-E6C9-4D44-B2D0-565CC7D39EC6}"/>
                  </a:ext>
                </a:extLst>
              </p:cNvPr>
              <p:cNvSpPr>
                <a:spLocks noEditPoints="1"/>
              </p:cNvSpPr>
              <p:nvPr/>
            </p:nvSpPr>
            <p:spPr bwMode="auto">
              <a:xfrm>
                <a:off x="3530600" y="2513013"/>
                <a:ext cx="303213" cy="96838"/>
              </a:xfrm>
              <a:custGeom>
                <a:avLst/>
                <a:gdLst>
                  <a:gd name="T0" fmla="*/ 0 w 191"/>
                  <a:gd name="T1" fmla="*/ 60 h 61"/>
                  <a:gd name="T2" fmla="*/ 110 w 191"/>
                  <a:gd name="T3" fmla="*/ 0 h 61"/>
                  <a:gd name="T4" fmla="*/ 110 w 191"/>
                  <a:gd name="T5" fmla="*/ 0 h 61"/>
                  <a:gd name="T6" fmla="*/ 110 w 191"/>
                  <a:gd name="T7" fmla="*/ 0 h 61"/>
                  <a:gd name="T8" fmla="*/ 191 w 191"/>
                  <a:gd name="T9" fmla="*/ 12 h 61"/>
                  <a:gd name="T10" fmla="*/ 191 w 191"/>
                  <a:gd name="T11" fmla="*/ 12 h 61"/>
                  <a:gd name="T12" fmla="*/ 191 w 191"/>
                  <a:gd name="T13" fmla="*/ 13 h 61"/>
                  <a:gd name="T14" fmla="*/ 191 w 191"/>
                  <a:gd name="T15" fmla="*/ 18 h 61"/>
                  <a:gd name="T16" fmla="*/ 111 w 191"/>
                  <a:gd name="T17" fmla="*/ 9 h 61"/>
                  <a:gd name="T18" fmla="*/ 8 w 191"/>
                  <a:gd name="T19" fmla="*/ 61 h 61"/>
                  <a:gd name="T20" fmla="*/ 8 w 191"/>
                  <a:gd name="T21" fmla="*/ 61 h 61"/>
                  <a:gd name="T22" fmla="*/ 8 w 191"/>
                  <a:gd name="T23" fmla="*/ 61 h 61"/>
                  <a:gd name="T24" fmla="*/ 0 w 191"/>
                  <a:gd name="T25" fmla="*/ 60 h 61"/>
                  <a:gd name="T26" fmla="*/ 0 w 191"/>
                  <a:gd name="T27" fmla="*/ 60 h 61"/>
                  <a:gd name="T28" fmla="*/ 0 w 191"/>
                  <a:gd name="T29" fmla="*/ 60 h 61"/>
                  <a:gd name="T30" fmla="*/ 110 w 191"/>
                  <a:gd name="T31" fmla="*/ 1 h 61"/>
                  <a:gd name="T32" fmla="*/ 1 w 191"/>
                  <a:gd name="T33" fmla="*/ 60 h 61"/>
                  <a:gd name="T34" fmla="*/ 8 w 191"/>
                  <a:gd name="T35" fmla="*/ 61 h 61"/>
                  <a:gd name="T36" fmla="*/ 111 w 191"/>
                  <a:gd name="T37" fmla="*/ 8 h 61"/>
                  <a:gd name="T38" fmla="*/ 111 w 191"/>
                  <a:gd name="T39" fmla="*/ 8 h 61"/>
                  <a:gd name="T40" fmla="*/ 111 w 191"/>
                  <a:gd name="T41" fmla="*/ 8 h 61"/>
                  <a:gd name="T42" fmla="*/ 190 w 191"/>
                  <a:gd name="T43" fmla="*/ 18 h 61"/>
                  <a:gd name="T44" fmla="*/ 190 w 191"/>
                  <a:gd name="T45" fmla="*/ 13 h 61"/>
                  <a:gd name="T46" fmla="*/ 110 w 191"/>
                  <a:gd name="T47"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61">
                    <a:moveTo>
                      <a:pt x="0" y="60"/>
                    </a:moveTo>
                    <a:lnTo>
                      <a:pt x="110" y="0"/>
                    </a:lnTo>
                    <a:lnTo>
                      <a:pt x="110" y="0"/>
                    </a:lnTo>
                    <a:lnTo>
                      <a:pt x="110" y="0"/>
                    </a:lnTo>
                    <a:lnTo>
                      <a:pt x="191" y="12"/>
                    </a:lnTo>
                    <a:lnTo>
                      <a:pt x="191" y="12"/>
                    </a:lnTo>
                    <a:lnTo>
                      <a:pt x="191" y="13"/>
                    </a:lnTo>
                    <a:lnTo>
                      <a:pt x="191" y="18"/>
                    </a:lnTo>
                    <a:lnTo>
                      <a:pt x="111" y="9"/>
                    </a:lnTo>
                    <a:lnTo>
                      <a:pt x="8" y="61"/>
                    </a:lnTo>
                    <a:lnTo>
                      <a:pt x="8" y="61"/>
                    </a:lnTo>
                    <a:lnTo>
                      <a:pt x="8" y="61"/>
                    </a:lnTo>
                    <a:lnTo>
                      <a:pt x="0" y="60"/>
                    </a:lnTo>
                    <a:lnTo>
                      <a:pt x="0" y="60"/>
                    </a:lnTo>
                    <a:lnTo>
                      <a:pt x="0" y="60"/>
                    </a:lnTo>
                    <a:close/>
                    <a:moveTo>
                      <a:pt x="110" y="1"/>
                    </a:moveTo>
                    <a:lnTo>
                      <a:pt x="1" y="60"/>
                    </a:lnTo>
                    <a:lnTo>
                      <a:pt x="8" y="61"/>
                    </a:lnTo>
                    <a:lnTo>
                      <a:pt x="111" y="8"/>
                    </a:lnTo>
                    <a:lnTo>
                      <a:pt x="111" y="8"/>
                    </a:lnTo>
                    <a:lnTo>
                      <a:pt x="111" y="8"/>
                    </a:lnTo>
                    <a:lnTo>
                      <a:pt x="190" y="18"/>
                    </a:lnTo>
                    <a:lnTo>
                      <a:pt x="190" y="13"/>
                    </a:lnTo>
                    <a:lnTo>
                      <a:pt x="110" y="1"/>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8">
                <a:extLst>
                  <a:ext uri="{FF2B5EF4-FFF2-40B4-BE49-F238E27FC236}">
                    <a16:creationId xmlns="" xmlns:a16="http://schemas.microsoft.com/office/drawing/2014/main" id="{F6BCC60E-851D-4E58-A53D-4C902B5C55EB}"/>
                  </a:ext>
                </a:extLst>
              </p:cNvPr>
              <p:cNvSpPr>
                <a:spLocks/>
              </p:cNvSpPr>
              <p:nvPr/>
            </p:nvSpPr>
            <p:spPr bwMode="auto">
              <a:xfrm>
                <a:off x="3535363" y="2525713"/>
                <a:ext cx="298450" cy="114300"/>
              </a:xfrm>
              <a:custGeom>
                <a:avLst/>
                <a:gdLst>
                  <a:gd name="T0" fmla="*/ 141 w 141"/>
                  <a:gd name="T1" fmla="*/ 8 h 54"/>
                  <a:gd name="T2" fmla="*/ 106 w 141"/>
                  <a:gd name="T3" fmla="*/ 26 h 54"/>
                  <a:gd name="T4" fmla="*/ 38 w 141"/>
                  <a:gd name="T5" fmla="*/ 54 h 54"/>
                  <a:gd name="T6" fmla="*/ 2 w 141"/>
                  <a:gd name="T7" fmla="*/ 45 h 54"/>
                  <a:gd name="T8" fmla="*/ 1 w 141"/>
                  <a:gd name="T9" fmla="*/ 42 h 54"/>
                  <a:gd name="T10" fmla="*/ 4 w 141"/>
                  <a:gd name="T11" fmla="*/ 40 h 54"/>
                  <a:gd name="T12" fmla="*/ 81 w 141"/>
                  <a:gd name="T13" fmla="*/ 0 h 54"/>
                  <a:gd name="T14" fmla="*/ 141 w 141"/>
                  <a:gd name="T15" fmla="*/ 8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4">
                    <a:moveTo>
                      <a:pt x="141" y="8"/>
                    </a:moveTo>
                    <a:cubicBezTo>
                      <a:pt x="129" y="14"/>
                      <a:pt x="117" y="20"/>
                      <a:pt x="106" y="26"/>
                    </a:cubicBezTo>
                    <a:cubicBezTo>
                      <a:pt x="83" y="35"/>
                      <a:pt x="61" y="44"/>
                      <a:pt x="38" y="54"/>
                    </a:cubicBezTo>
                    <a:cubicBezTo>
                      <a:pt x="38" y="54"/>
                      <a:pt x="15" y="50"/>
                      <a:pt x="2" y="45"/>
                    </a:cubicBezTo>
                    <a:cubicBezTo>
                      <a:pt x="1" y="44"/>
                      <a:pt x="0" y="43"/>
                      <a:pt x="1" y="42"/>
                    </a:cubicBezTo>
                    <a:cubicBezTo>
                      <a:pt x="4" y="40"/>
                      <a:pt x="4" y="40"/>
                      <a:pt x="4" y="40"/>
                    </a:cubicBezTo>
                    <a:cubicBezTo>
                      <a:pt x="81" y="0"/>
                      <a:pt x="81" y="0"/>
                      <a:pt x="81" y="0"/>
                    </a:cubicBezTo>
                    <a:lnTo>
                      <a:pt x="141" y="8"/>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9">
                <a:extLst>
                  <a:ext uri="{FF2B5EF4-FFF2-40B4-BE49-F238E27FC236}">
                    <a16:creationId xmlns="" xmlns:a16="http://schemas.microsoft.com/office/drawing/2014/main" id="{6BD9B483-C5E1-4707-86D3-BFF5A673906C}"/>
                  </a:ext>
                </a:extLst>
              </p:cNvPr>
              <p:cNvSpPr>
                <a:spLocks noEditPoints="1"/>
              </p:cNvSpPr>
              <p:nvPr/>
            </p:nvSpPr>
            <p:spPr bwMode="auto">
              <a:xfrm>
                <a:off x="3535363" y="2525713"/>
                <a:ext cx="298450" cy="114300"/>
              </a:xfrm>
              <a:custGeom>
                <a:avLst/>
                <a:gdLst>
                  <a:gd name="T0" fmla="*/ 141 w 141"/>
                  <a:gd name="T1" fmla="*/ 9 h 54"/>
                  <a:gd name="T2" fmla="*/ 106 w 141"/>
                  <a:gd name="T3" fmla="*/ 26 h 54"/>
                  <a:gd name="T4" fmla="*/ 106 w 141"/>
                  <a:gd name="T5" fmla="*/ 26 h 54"/>
                  <a:gd name="T6" fmla="*/ 38 w 141"/>
                  <a:gd name="T7" fmla="*/ 54 h 54"/>
                  <a:gd name="T8" fmla="*/ 38 w 141"/>
                  <a:gd name="T9" fmla="*/ 54 h 54"/>
                  <a:gd name="T10" fmla="*/ 38 w 141"/>
                  <a:gd name="T11" fmla="*/ 54 h 54"/>
                  <a:gd name="T12" fmla="*/ 2 w 141"/>
                  <a:gd name="T13" fmla="*/ 45 h 54"/>
                  <a:gd name="T14" fmla="*/ 2 w 141"/>
                  <a:gd name="T15" fmla="*/ 45 h 54"/>
                  <a:gd name="T16" fmla="*/ 2 w 141"/>
                  <a:gd name="T17" fmla="*/ 45 h 54"/>
                  <a:gd name="T18" fmla="*/ 0 w 141"/>
                  <a:gd name="T19" fmla="*/ 43 h 54"/>
                  <a:gd name="T20" fmla="*/ 0 w 141"/>
                  <a:gd name="T21" fmla="*/ 43 h 54"/>
                  <a:gd name="T22" fmla="*/ 1 w 141"/>
                  <a:gd name="T23" fmla="*/ 42 h 54"/>
                  <a:gd name="T24" fmla="*/ 1 w 141"/>
                  <a:gd name="T25" fmla="*/ 42 h 54"/>
                  <a:gd name="T26" fmla="*/ 3 w 141"/>
                  <a:gd name="T27" fmla="*/ 40 h 54"/>
                  <a:gd name="T28" fmla="*/ 3 w 141"/>
                  <a:gd name="T29" fmla="*/ 40 h 54"/>
                  <a:gd name="T30" fmla="*/ 4 w 141"/>
                  <a:gd name="T31" fmla="*/ 40 h 54"/>
                  <a:gd name="T32" fmla="*/ 81 w 141"/>
                  <a:gd name="T33" fmla="*/ 0 h 54"/>
                  <a:gd name="T34" fmla="*/ 81 w 141"/>
                  <a:gd name="T35" fmla="*/ 0 h 54"/>
                  <a:gd name="T36" fmla="*/ 81 w 141"/>
                  <a:gd name="T37" fmla="*/ 0 h 54"/>
                  <a:gd name="T38" fmla="*/ 141 w 141"/>
                  <a:gd name="T39" fmla="*/ 8 h 54"/>
                  <a:gd name="T40" fmla="*/ 141 w 141"/>
                  <a:gd name="T41" fmla="*/ 9 h 54"/>
                  <a:gd name="T42" fmla="*/ 106 w 141"/>
                  <a:gd name="T43" fmla="*/ 26 h 54"/>
                  <a:gd name="T44" fmla="*/ 140 w 141"/>
                  <a:gd name="T45" fmla="*/ 8 h 54"/>
                  <a:gd name="T46" fmla="*/ 81 w 141"/>
                  <a:gd name="T47" fmla="*/ 1 h 54"/>
                  <a:gd name="T48" fmla="*/ 4 w 141"/>
                  <a:gd name="T49" fmla="*/ 40 h 54"/>
                  <a:gd name="T50" fmla="*/ 1 w 141"/>
                  <a:gd name="T51" fmla="*/ 43 h 54"/>
                  <a:gd name="T52" fmla="*/ 1 w 141"/>
                  <a:gd name="T53" fmla="*/ 43 h 54"/>
                  <a:gd name="T54" fmla="*/ 1 w 141"/>
                  <a:gd name="T55" fmla="*/ 43 h 54"/>
                  <a:gd name="T56" fmla="*/ 1 w 141"/>
                  <a:gd name="T57" fmla="*/ 43 h 54"/>
                  <a:gd name="T58" fmla="*/ 1 w 141"/>
                  <a:gd name="T59" fmla="*/ 43 h 54"/>
                  <a:gd name="T60" fmla="*/ 1 w 141"/>
                  <a:gd name="T61" fmla="*/ 43 h 54"/>
                  <a:gd name="T62" fmla="*/ 2 w 141"/>
                  <a:gd name="T63" fmla="*/ 45 h 54"/>
                  <a:gd name="T64" fmla="*/ 38 w 141"/>
                  <a:gd name="T65" fmla="*/ 53 h 54"/>
                  <a:gd name="T66" fmla="*/ 106 w 141"/>
                  <a:gd name="T6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54">
                    <a:moveTo>
                      <a:pt x="141" y="9"/>
                    </a:moveTo>
                    <a:cubicBezTo>
                      <a:pt x="106" y="26"/>
                      <a:pt x="106" y="26"/>
                      <a:pt x="106" y="26"/>
                    </a:cubicBezTo>
                    <a:cubicBezTo>
                      <a:pt x="106" y="26"/>
                      <a:pt x="106" y="26"/>
                      <a:pt x="106" y="26"/>
                    </a:cubicBezTo>
                    <a:cubicBezTo>
                      <a:pt x="38" y="54"/>
                      <a:pt x="38" y="54"/>
                      <a:pt x="38" y="54"/>
                    </a:cubicBezTo>
                    <a:cubicBezTo>
                      <a:pt x="38" y="54"/>
                      <a:pt x="38" y="54"/>
                      <a:pt x="38" y="54"/>
                    </a:cubicBezTo>
                    <a:cubicBezTo>
                      <a:pt x="38" y="54"/>
                      <a:pt x="38" y="54"/>
                      <a:pt x="38" y="54"/>
                    </a:cubicBezTo>
                    <a:cubicBezTo>
                      <a:pt x="38" y="54"/>
                      <a:pt x="15" y="50"/>
                      <a:pt x="2" y="45"/>
                    </a:cubicBezTo>
                    <a:cubicBezTo>
                      <a:pt x="2" y="45"/>
                      <a:pt x="2" y="45"/>
                      <a:pt x="2" y="45"/>
                    </a:cubicBezTo>
                    <a:cubicBezTo>
                      <a:pt x="2" y="45"/>
                      <a:pt x="2" y="45"/>
                      <a:pt x="2" y="45"/>
                    </a:cubicBezTo>
                    <a:cubicBezTo>
                      <a:pt x="1" y="44"/>
                      <a:pt x="1" y="44"/>
                      <a:pt x="0" y="43"/>
                    </a:cubicBezTo>
                    <a:cubicBezTo>
                      <a:pt x="0" y="43"/>
                      <a:pt x="0" y="43"/>
                      <a:pt x="0" y="43"/>
                    </a:cubicBezTo>
                    <a:cubicBezTo>
                      <a:pt x="0" y="43"/>
                      <a:pt x="0" y="42"/>
                      <a:pt x="1" y="42"/>
                    </a:cubicBezTo>
                    <a:cubicBezTo>
                      <a:pt x="1" y="42"/>
                      <a:pt x="1" y="42"/>
                      <a:pt x="1" y="42"/>
                    </a:cubicBezTo>
                    <a:cubicBezTo>
                      <a:pt x="3" y="40"/>
                      <a:pt x="3" y="40"/>
                      <a:pt x="3" y="40"/>
                    </a:cubicBezTo>
                    <a:cubicBezTo>
                      <a:pt x="3" y="40"/>
                      <a:pt x="3" y="40"/>
                      <a:pt x="3" y="40"/>
                    </a:cubicBezTo>
                    <a:cubicBezTo>
                      <a:pt x="4" y="40"/>
                      <a:pt x="4" y="40"/>
                      <a:pt x="4" y="40"/>
                    </a:cubicBezTo>
                    <a:cubicBezTo>
                      <a:pt x="81" y="0"/>
                      <a:pt x="81" y="0"/>
                      <a:pt x="81" y="0"/>
                    </a:cubicBezTo>
                    <a:cubicBezTo>
                      <a:pt x="81" y="0"/>
                      <a:pt x="81" y="0"/>
                      <a:pt x="81" y="0"/>
                    </a:cubicBezTo>
                    <a:cubicBezTo>
                      <a:pt x="81" y="0"/>
                      <a:pt x="81" y="0"/>
                      <a:pt x="81" y="0"/>
                    </a:cubicBezTo>
                    <a:cubicBezTo>
                      <a:pt x="141" y="8"/>
                      <a:pt x="141" y="8"/>
                      <a:pt x="141" y="8"/>
                    </a:cubicBezTo>
                    <a:cubicBezTo>
                      <a:pt x="141" y="9"/>
                      <a:pt x="141" y="9"/>
                      <a:pt x="141" y="9"/>
                    </a:cubicBezTo>
                    <a:close/>
                    <a:moveTo>
                      <a:pt x="106" y="26"/>
                    </a:moveTo>
                    <a:cubicBezTo>
                      <a:pt x="140" y="8"/>
                      <a:pt x="140" y="8"/>
                      <a:pt x="140" y="8"/>
                    </a:cubicBezTo>
                    <a:cubicBezTo>
                      <a:pt x="81" y="1"/>
                      <a:pt x="81" y="1"/>
                      <a:pt x="81" y="1"/>
                    </a:cubicBezTo>
                    <a:cubicBezTo>
                      <a:pt x="4" y="40"/>
                      <a:pt x="4" y="40"/>
                      <a:pt x="4" y="40"/>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4"/>
                      <a:pt x="2" y="45"/>
                    </a:cubicBezTo>
                    <a:cubicBezTo>
                      <a:pt x="14" y="49"/>
                      <a:pt x="36" y="53"/>
                      <a:pt x="38" y="53"/>
                    </a:cubicBezTo>
                    <a:lnTo>
                      <a:pt x="106" y="26"/>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0">
                <a:extLst>
                  <a:ext uri="{FF2B5EF4-FFF2-40B4-BE49-F238E27FC236}">
                    <a16:creationId xmlns="" xmlns:a16="http://schemas.microsoft.com/office/drawing/2014/main" id="{146015F6-5195-437A-92CF-8E8736063E49}"/>
                  </a:ext>
                </a:extLst>
              </p:cNvPr>
              <p:cNvSpPr>
                <a:spLocks/>
              </p:cNvSpPr>
              <p:nvPr/>
            </p:nvSpPr>
            <p:spPr bwMode="auto">
              <a:xfrm>
                <a:off x="3411538" y="2597150"/>
                <a:ext cx="190500" cy="106363"/>
              </a:xfrm>
              <a:custGeom>
                <a:avLst/>
                <a:gdLst>
                  <a:gd name="T0" fmla="*/ 12 w 90"/>
                  <a:gd name="T1" fmla="*/ 5 h 50"/>
                  <a:gd name="T2" fmla="*/ 5 w 90"/>
                  <a:gd name="T3" fmla="*/ 25 h 50"/>
                  <a:gd name="T4" fmla="*/ 2 w 90"/>
                  <a:gd name="T5" fmla="*/ 39 h 50"/>
                  <a:gd name="T6" fmla="*/ 9 w 90"/>
                  <a:gd name="T7" fmla="*/ 41 h 50"/>
                  <a:gd name="T8" fmla="*/ 19 w 90"/>
                  <a:gd name="T9" fmla="*/ 44 h 50"/>
                  <a:gd name="T10" fmla="*/ 39 w 90"/>
                  <a:gd name="T11" fmla="*/ 50 h 50"/>
                  <a:gd name="T12" fmla="*/ 53 w 90"/>
                  <a:gd name="T13" fmla="*/ 45 h 50"/>
                  <a:gd name="T14" fmla="*/ 54 w 90"/>
                  <a:gd name="T15" fmla="*/ 40 h 50"/>
                  <a:gd name="T16" fmla="*/ 62 w 90"/>
                  <a:gd name="T17" fmla="*/ 35 h 50"/>
                  <a:gd name="T18" fmla="*/ 60 w 90"/>
                  <a:gd name="T19" fmla="*/ 29 h 50"/>
                  <a:gd name="T20" fmla="*/ 66 w 90"/>
                  <a:gd name="T21" fmla="*/ 24 h 50"/>
                  <a:gd name="T22" fmla="*/ 65 w 90"/>
                  <a:gd name="T23" fmla="*/ 17 h 50"/>
                  <a:gd name="T24" fmla="*/ 81 w 90"/>
                  <a:gd name="T25" fmla="*/ 14 h 50"/>
                  <a:gd name="T26" fmla="*/ 89 w 90"/>
                  <a:gd name="T27" fmla="*/ 9 h 50"/>
                  <a:gd name="T28" fmla="*/ 83 w 90"/>
                  <a:gd name="T29" fmla="*/ 6 h 50"/>
                  <a:gd name="T30" fmla="*/ 78 w 90"/>
                  <a:gd name="T31" fmla="*/ 6 h 50"/>
                  <a:gd name="T32" fmla="*/ 62 w 90"/>
                  <a:gd name="T33" fmla="*/ 6 h 50"/>
                  <a:gd name="T34" fmla="*/ 56 w 90"/>
                  <a:gd name="T35" fmla="*/ 5 h 50"/>
                  <a:gd name="T36" fmla="*/ 63 w 90"/>
                  <a:gd name="T37" fmla="*/ 1 h 50"/>
                  <a:gd name="T38" fmla="*/ 43 w 90"/>
                  <a:gd name="T39" fmla="*/ 1 h 50"/>
                  <a:gd name="T40" fmla="*/ 27 w 90"/>
                  <a:gd name="T41" fmla="*/ 1 h 50"/>
                  <a:gd name="T42" fmla="*/ 12 w 90"/>
                  <a:gd name="T4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50">
                    <a:moveTo>
                      <a:pt x="12" y="5"/>
                    </a:moveTo>
                    <a:cubicBezTo>
                      <a:pt x="5" y="25"/>
                      <a:pt x="5" y="25"/>
                      <a:pt x="5" y="25"/>
                    </a:cubicBezTo>
                    <a:cubicBezTo>
                      <a:pt x="5" y="25"/>
                      <a:pt x="0" y="36"/>
                      <a:pt x="2" y="39"/>
                    </a:cubicBezTo>
                    <a:cubicBezTo>
                      <a:pt x="4" y="41"/>
                      <a:pt x="9" y="41"/>
                      <a:pt x="9" y="41"/>
                    </a:cubicBezTo>
                    <a:cubicBezTo>
                      <a:pt x="9" y="41"/>
                      <a:pt x="16" y="43"/>
                      <a:pt x="19" y="44"/>
                    </a:cubicBezTo>
                    <a:cubicBezTo>
                      <a:pt x="21" y="46"/>
                      <a:pt x="35" y="50"/>
                      <a:pt x="39" y="50"/>
                    </a:cubicBezTo>
                    <a:cubicBezTo>
                      <a:pt x="43" y="49"/>
                      <a:pt x="52" y="47"/>
                      <a:pt x="53" y="45"/>
                    </a:cubicBezTo>
                    <a:cubicBezTo>
                      <a:pt x="54" y="44"/>
                      <a:pt x="54" y="40"/>
                      <a:pt x="54" y="40"/>
                    </a:cubicBezTo>
                    <a:cubicBezTo>
                      <a:pt x="54" y="40"/>
                      <a:pt x="61" y="38"/>
                      <a:pt x="62" y="35"/>
                    </a:cubicBezTo>
                    <a:cubicBezTo>
                      <a:pt x="63" y="32"/>
                      <a:pt x="60" y="29"/>
                      <a:pt x="60" y="29"/>
                    </a:cubicBezTo>
                    <a:cubicBezTo>
                      <a:pt x="60" y="29"/>
                      <a:pt x="66" y="28"/>
                      <a:pt x="66" y="24"/>
                    </a:cubicBezTo>
                    <a:cubicBezTo>
                      <a:pt x="66" y="21"/>
                      <a:pt x="65" y="17"/>
                      <a:pt x="65" y="17"/>
                    </a:cubicBezTo>
                    <a:cubicBezTo>
                      <a:pt x="65" y="17"/>
                      <a:pt x="77" y="15"/>
                      <a:pt x="81" y="14"/>
                    </a:cubicBezTo>
                    <a:cubicBezTo>
                      <a:pt x="86" y="13"/>
                      <a:pt x="90" y="13"/>
                      <a:pt x="89" y="9"/>
                    </a:cubicBezTo>
                    <a:cubicBezTo>
                      <a:pt x="88" y="6"/>
                      <a:pt x="87" y="5"/>
                      <a:pt x="83" y="6"/>
                    </a:cubicBezTo>
                    <a:cubicBezTo>
                      <a:pt x="78" y="6"/>
                      <a:pt x="78" y="6"/>
                      <a:pt x="78" y="6"/>
                    </a:cubicBezTo>
                    <a:cubicBezTo>
                      <a:pt x="62" y="6"/>
                      <a:pt x="62" y="6"/>
                      <a:pt x="62" y="6"/>
                    </a:cubicBezTo>
                    <a:cubicBezTo>
                      <a:pt x="56" y="5"/>
                      <a:pt x="56" y="5"/>
                      <a:pt x="56" y="5"/>
                    </a:cubicBezTo>
                    <a:cubicBezTo>
                      <a:pt x="63" y="1"/>
                      <a:pt x="63" y="1"/>
                      <a:pt x="63" y="1"/>
                    </a:cubicBezTo>
                    <a:cubicBezTo>
                      <a:pt x="63" y="1"/>
                      <a:pt x="47" y="1"/>
                      <a:pt x="43" y="1"/>
                    </a:cubicBezTo>
                    <a:cubicBezTo>
                      <a:pt x="38" y="0"/>
                      <a:pt x="33" y="0"/>
                      <a:pt x="27" y="1"/>
                    </a:cubicBezTo>
                    <a:cubicBezTo>
                      <a:pt x="22" y="3"/>
                      <a:pt x="19" y="2"/>
                      <a:pt x="12" y="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811841" y="838200"/>
            <a:ext cx="7156144" cy="1151643"/>
            <a:chOff x="828253" y="3345074"/>
            <a:chExt cx="7156144" cy="1151643"/>
          </a:xfrm>
        </p:grpSpPr>
        <p:grpSp>
          <p:nvGrpSpPr>
            <p:cNvPr id="17" name="Group 16">
              <a:extLst>
                <a:ext uri="{FF2B5EF4-FFF2-40B4-BE49-F238E27FC236}">
                  <a16:creationId xmlns="" xmlns:a16="http://schemas.microsoft.com/office/drawing/2014/main" id="{74538E87-6638-4DAF-9D14-722C7395AAE5}"/>
                </a:ext>
              </a:extLst>
            </p:cNvPr>
            <p:cNvGrpSpPr/>
            <p:nvPr/>
          </p:nvGrpSpPr>
          <p:grpSpPr>
            <a:xfrm>
              <a:off x="1329409" y="3457371"/>
              <a:ext cx="6654988" cy="929089"/>
              <a:chOff x="644346" y="1066802"/>
              <a:chExt cx="4267461" cy="868614"/>
            </a:xfrm>
          </p:grpSpPr>
          <p:sp>
            <p:nvSpPr>
              <p:cNvPr id="18" name="Parallelogram 5">
                <a:extLst>
                  <a:ext uri="{FF2B5EF4-FFF2-40B4-BE49-F238E27FC236}">
                    <a16:creationId xmlns="" xmlns:a16="http://schemas.microsoft.com/office/drawing/2014/main" id="{0279F33C-6112-428C-A63F-CBF64A030FFD}"/>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19" name="TextBox 18">
                <a:extLst>
                  <a:ext uri="{FF2B5EF4-FFF2-40B4-BE49-F238E27FC236}">
                    <a16:creationId xmlns="" xmlns:a16="http://schemas.microsoft.com/office/drawing/2014/main" id="{BDBF7701-D724-4C4E-9AE5-04ACCB59FBAE}"/>
                  </a:ext>
                </a:extLst>
              </p:cNvPr>
              <p:cNvSpPr txBox="1"/>
              <p:nvPr/>
            </p:nvSpPr>
            <p:spPr>
              <a:xfrm>
                <a:off x="1122015" y="1158509"/>
                <a:ext cx="3789792" cy="776907"/>
              </a:xfrm>
              <a:prstGeom prst="rect">
                <a:avLst/>
              </a:prstGeom>
              <a:noFill/>
              <a:ln>
                <a:noFill/>
              </a:ln>
            </p:spPr>
            <p:txBody>
              <a:bodyPr wrap="square" rtlCol="0">
                <a:spAutoFit/>
              </a:bodyPr>
              <a:lstStyle/>
              <a:p>
                <a:pPr algn="ctr"/>
                <a:r>
                  <a:rPr lang="en-US" sz="2400" dirty="0" smtClean="0"/>
                  <a:t>Problem in tracking the efficiency of every stage</a:t>
                </a:r>
                <a:endParaRPr lang="en-US" sz="2400" dirty="0"/>
              </a:p>
            </p:txBody>
          </p:sp>
        </p:grpSp>
        <p:grpSp>
          <p:nvGrpSpPr>
            <p:cNvPr id="42" name="Group 41">
              <a:extLst>
                <a:ext uri="{FF2B5EF4-FFF2-40B4-BE49-F238E27FC236}">
                  <a16:creationId xmlns="" xmlns:a16="http://schemas.microsoft.com/office/drawing/2014/main" id="{2D03D213-5BB5-40DB-80C0-6BD250DE82FA}"/>
                </a:ext>
              </a:extLst>
            </p:cNvPr>
            <p:cNvGrpSpPr/>
            <p:nvPr/>
          </p:nvGrpSpPr>
          <p:grpSpPr>
            <a:xfrm>
              <a:off x="828253" y="3345074"/>
              <a:ext cx="1340415" cy="1151643"/>
              <a:chOff x="803305" y="1573598"/>
              <a:chExt cx="1056563" cy="1098324"/>
            </a:xfrm>
          </p:grpSpPr>
          <p:grpSp>
            <p:nvGrpSpPr>
              <p:cNvPr id="43" name="Group 42">
                <a:extLst>
                  <a:ext uri="{FF2B5EF4-FFF2-40B4-BE49-F238E27FC236}">
                    <a16:creationId xmlns="" xmlns:a16="http://schemas.microsoft.com/office/drawing/2014/main" id="{C5B65A44-1E58-49F2-BF60-F54E2C208AD7}"/>
                  </a:ext>
                </a:extLst>
              </p:cNvPr>
              <p:cNvGrpSpPr>
                <a:grpSpLocks noChangeAspect="1"/>
              </p:cNvGrpSpPr>
              <p:nvPr/>
            </p:nvGrpSpPr>
            <p:grpSpPr>
              <a:xfrm>
                <a:off x="803305" y="1573598"/>
                <a:ext cx="1056563" cy="1098324"/>
                <a:chOff x="6875704" y="5143201"/>
                <a:chExt cx="1300356" cy="1351752"/>
              </a:xfrm>
            </p:grpSpPr>
            <p:sp>
              <p:nvSpPr>
                <p:cNvPr id="45" name="Oval 44">
                  <a:extLst>
                    <a:ext uri="{FF2B5EF4-FFF2-40B4-BE49-F238E27FC236}">
                      <a16:creationId xmlns="" xmlns:a16="http://schemas.microsoft.com/office/drawing/2014/main" id="{E26DEEF3-0A8E-4CF8-8B4C-85CD7D632C3A}"/>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 xmlns:a16="http://schemas.microsoft.com/office/drawing/2014/main" id="{894C7315-DF70-40C7-ABDA-24BC752EB19E}"/>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44" name="TextBox 43">
                <a:extLst>
                  <a:ext uri="{FF2B5EF4-FFF2-40B4-BE49-F238E27FC236}">
                    <a16:creationId xmlns="" xmlns:a16="http://schemas.microsoft.com/office/drawing/2014/main" id="{5F9FFAEA-3EF6-4011-BFC6-D353D31D7129}"/>
                  </a:ext>
                </a:extLst>
              </p:cNvPr>
              <p:cNvSpPr txBox="1"/>
              <p:nvPr/>
            </p:nvSpPr>
            <p:spPr>
              <a:xfrm>
                <a:off x="963335" y="1708742"/>
                <a:ext cx="734837" cy="707886"/>
              </a:xfrm>
              <a:prstGeom prst="rect">
                <a:avLst/>
              </a:prstGeom>
              <a:noFill/>
            </p:spPr>
            <p:txBody>
              <a:bodyPr wrap="square" rtlCol="0" anchor="ctr">
                <a:spAutoFit/>
              </a:bodyPr>
              <a:lstStyle/>
              <a:p>
                <a:pPr algn="ctr"/>
                <a:r>
                  <a:rPr lang="en-US" sz="4000" dirty="0">
                    <a:solidFill>
                      <a:schemeClr val="bg1"/>
                    </a:solidFill>
                    <a:latin typeface="Arial Black" pitchFamily="34" charset="0"/>
                  </a:rPr>
                  <a:t>3</a:t>
                </a:r>
              </a:p>
            </p:txBody>
          </p:sp>
        </p:grpSp>
      </p:grpSp>
      <p:grpSp>
        <p:nvGrpSpPr>
          <p:cNvPr id="2" name="Group 1"/>
          <p:cNvGrpSpPr/>
          <p:nvPr/>
        </p:nvGrpSpPr>
        <p:grpSpPr>
          <a:xfrm>
            <a:off x="811841" y="2146762"/>
            <a:ext cx="6850369" cy="1151643"/>
            <a:chOff x="838200" y="4668278"/>
            <a:chExt cx="6850369" cy="1151643"/>
          </a:xfrm>
        </p:grpSpPr>
        <p:grpSp>
          <p:nvGrpSpPr>
            <p:cNvPr id="50" name="Group 49">
              <a:extLst>
                <a:ext uri="{FF2B5EF4-FFF2-40B4-BE49-F238E27FC236}">
                  <a16:creationId xmlns="" xmlns:a16="http://schemas.microsoft.com/office/drawing/2014/main" id="{0FCD19B9-175E-40BC-A7A6-B9CC6ABB3AD2}"/>
                </a:ext>
              </a:extLst>
            </p:cNvPr>
            <p:cNvGrpSpPr/>
            <p:nvPr/>
          </p:nvGrpSpPr>
          <p:grpSpPr>
            <a:xfrm>
              <a:off x="1339356" y="4780575"/>
              <a:ext cx="6349213" cy="941114"/>
              <a:chOff x="644346" y="1066802"/>
              <a:chExt cx="4071385" cy="879856"/>
            </a:xfrm>
          </p:grpSpPr>
          <p:sp>
            <p:nvSpPr>
              <p:cNvPr id="51" name="Parallelogram 5">
                <a:extLst>
                  <a:ext uri="{FF2B5EF4-FFF2-40B4-BE49-F238E27FC236}">
                    <a16:creationId xmlns="" xmlns:a16="http://schemas.microsoft.com/office/drawing/2014/main" id="{B710592E-DFDF-44B7-98CD-C0883AB6AA02}"/>
                  </a:ext>
                </a:extLst>
              </p:cNvPr>
              <p:cNvSpPr/>
              <p:nvPr/>
            </p:nvSpPr>
            <p:spPr>
              <a:xfrm rot="16200000" flipV="1">
                <a:off x="2133777" y="-422629"/>
                <a:ext cx="854022" cy="3832883"/>
              </a:xfrm>
              <a:prstGeom prst="rect">
                <a:avLst/>
              </a:prstGeom>
              <a:gradFill flip="none" rotWithShape="1">
                <a:gsLst>
                  <a:gs pos="0">
                    <a:schemeClr val="bg1">
                      <a:alpha val="0"/>
                    </a:schemeClr>
                  </a:gs>
                  <a:gs pos="100000">
                    <a:schemeClr val="bg1">
                      <a:lumMod val="7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52" name="TextBox 51">
                <a:extLst>
                  <a:ext uri="{FF2B5EF4-FFF2-40B4-BE49-F238E27FC236}">
                    <a16:creationId xmlns="" xmlns:a16="http://schemas.microsoft.com/office/drawing/2014/main" id="{130077F5-4EEA-4AB4-883E-C4FDE14025EE}"/>
                  </a:ext>
                </a:extLst>
              </p:cNvPr>
              <p:cNvSpPr txBox="1"/>
              <p:nvPr/>
            </p:nvSpPr>
            <p:spPr>
              <a:xfrm>
                <a:off x="925938" y="1169751"/>
                <a:ext cx="3789793" cy="776907"/>
              </a:xfrm>
              <a:prstGeom prst="rect">
                <a:avLst/>
              </a:prstGeom>
              <a:noFill/>
              <a:ln>
                <a:noFill/>
              </a:ln>
            </p:spPr>
            <p:txBody>
              <a:bodyPr wrap="square" rtlCol="0">
                <a:spAutoFit/>
              </a:bodyPr>
              <a:lstStyle/>
              <a:p>
                <a:pPr algn="ctr"/>
                <a:r>
                  <a:rPr lang="en-US" sz="2400" dirty="0"/>
                  <a:t>D</a:t>
                </a:r>
                <a:r>
                  <a:rPr lang="en-US" sz="2400" dirty="0" smtClean="0"/>
                  <a:t>ifficult </a:t>
                </a:r>
                <a:r>
                  <a:rPr lang="en-US" sz="2400" dirty="0"/>
                  <a:t>in </a:t>
                </a:r>
                <a:r>
                  <a:rPr lang="en-US" sz="2400" dirty="0" smtClean="0"/>
                  <a:t>identifying hindering </a:t>
                </a:r>
                <a:r>
                  <a:rPr lang="en-US" sz="2400" dirty="0" smtClean="0"/>
                  <a:t>manufacturing process</a:t>
                </a:r>
                <a:endParaRPr lang="en-US" sz="2400" dirty="0"/>
              </a:p>
            </p:txBody>
          </p:sp>
        </p:grpSp>
        <p:grpSp>
          <p:nvGrpSpPr>
            <p:cNvPr id="53" name="Group 52">
              <a:extLst>
                <a:ext uri="{FF2B5EF4-FFF2-40B4-BE49-F238E27FC236}">
                  <a16:creationId xmlns="" xmlns:a16="http://schemas.microsoft.com/office/drawing/2014/main" id="{634E5FF5-7BAC-46E5-BDB9-3AFADFAB74FA}"/>
                </a:ext>
              </a:extLst>
            </p:cNvPr>
            <p:cNvGrpSpPr/>
            <p:nvPr/>
          </p:nvGrpSpPr>
          <p:grpSpPr>
            <a:xfrm>
              <a:off x="838200" y="4668278"/>
              <a:ext cx="1340415" cy="1151643"/>
              <a:chOff x="803305" y="1573598"/>
              <a:chExt cx="1056563" cy="1098324"/>
            </a:xfrm>
          </p:grpSpPr>
          <p:grpSp>
            <p:nvGrpSpPr>
              <p:cNvPr id="54" name="Group 53">
                <a:extLst>
                  <a:ext uri="{FF2B5EF4-FFF2-40B4-BE49-F238E27FC236}">
                    <a16:creationId xmlns="" xmlns:a16="http://schemas.microsoft.com/office/drawing/2014/main" id="{A4329CFD-C24E-41D3-840A-E8B4CD58A052}"/>
                  </a:ext>
                </a:extLst>
              </p:cNvPr>
              <p:cNvGrpSpPr>
                <a:grpSpLocks noChangeAspect="1"/>
              </p:cNvGrpSpPr>
              <p:nvPr/>
            </p:nvGrpSpPr>
            <p:grpSpPr>
              <a:xfrm>
                <a:off x="803305" y="1573598"/>
                <a:ext cx="1056563" cy="1098324"/>
                <a:chOff x="6875704" y="5143201"/>
                <a:chExt cx="1300356" cy="1351752"/>
              </a:xfrm>
            </p:grpSpPr>
            <p:sp>
              <p:nvSpPr>
                <p:cNvPr id="56" name="Oval 55">
                  <a:extLst>
                    <a:ext uri="{FF2B5EF4-FFF2-40B4-BE49-F238E27FC236}">
                      <a16:creationId xmlns="" xmlns:a16="http://schemas.microsoft.com/office/drawing/2014/main" id="{A94E25BD-C1A9-4292-8267-8CEEEF226993}"/>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 xmlns:a16="http://schemas.microsoft.com/office/drawing/2014/main" id="{161A2B19-5341-40D8-81B4-9EF7B5EE52FB}"/>
                    </a:ext>
                  </a:extLst>
                </p:cNvPr>
                <p:cNvSpPr/>
                <p:nvPr/>
              </p:nvSpPr>
              <p:spPr>
                <a:xfrm>
                  <a:off x="6947372" y="5143201"/>
                  <a:ext cx="1157020" cy="1157020"/>
                </a:xfrm>
                <a:prstGeom prst="ellipse">
                  <a:avLst/>
                </a:prstGeom>
                <a:gradFill flip="none" rotWithShape="1">
                  <a:gsLst>
                    <a:gs pos="100000">
                      <a:srgbClr val="C00000"/>
                    </a:gs>
                    <a:gs pos="0">
                      <a:srgbClr val="FF0000"/>
                    </a:gs>
                  </a:gsLst>
                  <a:path path="shape">
                    <a:fillToRect l="50000" t="50000" r="50000" b="50000"/>
                  </a:path>
                  <a:tileRect/>
                </a:gra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55" name="TextBox 54">
                <a:extLst>
                  <a:ext uri="{FF2B5EF4-FFF2-40B4-BE49-F238E27FC236}">
                    <a16:creationId xmlns="" xmlns:a16="http://schemas.microsoft.com/office/drawing/2014/main" id="{27E386FF-A813-4388-AD7F-8D29A962E31C}"/>
                  </a:ext>
                </a:extLst>
              </p:cNvPr>
              <p:cNvSpPr txBox="1"/>
              <p:nvPr/>
            </p:nvSpPr>
            <p:spPr>
              <a:xfrm>
                <a:off x="963335" y="1725129"/>
                <a:ext cx="734837" cy="675112"/>
              </a:xfrm>
              <a:prstGeom prst="rect">
                <a:avLst/>
              </a:prstGeom>
              <a:noFill/>
            </p:spPr>
            <p:txBody>
              <a:bodyPr wrap="square" rtlCol="0" anchor="ctr">
                <a:spAutoFit/>
              </a:bodyPr>
              <a:lstStyle/>
              <a:p>
                <a:pPr algn="ctr"/>
                <a:r>
                  <a:rPr lang="en-US" sz="4000" dirty="0">
                    <a:solidFill>
                      <a:schemeClr val="bg1"/>
                    </a:solidFill>
                    <a:latin typeface="Arial Black" pitchFamily="34" charset="0"/>
                  </a:rPr>
                  <a:t>4</a:t>
                </a:r>
              </a:p>
            </p:txBody>
          </p:sp>
        </p:grpSp>
      </p:gr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9192" y="3374669"/>
            <a:ext cx="5521082" cy="3067050"/>
          </a:xfrm>
          <a:prstGeom prst="rect">
            <a:avLst/>
          </a:prstGeom>
          <a:noFill/>
          <a:ln>
            <a:noFill/>
          </a:ln>
          <a:effectLst>
            <a:innerShdw blurRad="114300">
              <a:prstClr val="black"/>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243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 xmlns:a16="http://schemas.microsoft.com/office/drawing/2014/main" id="{C87F7D95-A004-4933-9357-16FB71778687}"/>
              </a:ext>
            </a:extLst>
          </p:cNvPr>
          <p:cNvSpPr>
            <a:spLocks noGrp="1"/>
          </p:cNvSpPr>
          <p:nvPr>
            <p:ph type="title"/>
          </p:nvPr>
        </p:nvSpPr>
        <p:spPr>
          <a:xfrm>
            <a:off x="457200" y="274642"/>
            <a:ext cx="10440534" cy="745601"/>
          </a:xfrm>
        </p:spPr>
        <p:txBody>
          <a:bodyPr/>
          <a:lstStyle/>
          <a:p>
            <a:r>
              <a:rPr lang="en-US" dirty="0" smtClean="0"/>
              <a:t>Solution</a:t>
            </a:r>
            <a:endParaRPr lang="en-US" dirty="0"/>
          </a:p>
        </p:txBody>
      </p:sp>
      <p:sp>
        <p:nvSpPr>
          <p:cNvPr id="4" name="TextBox 3"/>
          <p:cNvSpPr txBox="1"/>
          <p:nvPr/>
        </p:nvSpPr>
        <p:spPr>
          <a:xfrm>
            <a:off x="2698844" y="2637235"/>
            <a:ext cx="8197756" cy="1200329"/>
          </a:xfrm>
          <a:prstGeom prst="rect">
            <a:avLst/>
          </a:prstGeom>
          <a:noFill/>
        </p:spPr>
        <p:txBody>
          <a:bodyPr wrap="square" rtlCol="0">
            <a:spAutoFit/>
          </a:bodyPr>
          <a:lstStyle/>
          <a:p>
            <a:r>
              <a:rPr lang="en-US" b="1" dirty="0" smtClean="0">
                <a:solidFill>
                  <a:schemeClr val="accent2">
                    <a:lumMod val="50000"/>
                  </a:schemeClr>
                </a:solidFill>
              </a:rPr>
              <a:t>Let’s create our OWN Assembly trend  using  </a:t>
            </a:r>
          </a:p>
          <a:p>
            <a:endParaRPr lang="en-US" b="1" dirty="0" smtClean="0">
              <a:solidFill>
                <a:schemeClr val="accent2">
                  <a:lumMod val="50000"/>
                </a:schemeClr>
              </a:solidFill>
            </a:endParaRPr>
          </a:p>
          <a:p>
            <a:r>
              <a:rPr lang="en-US" b="1" dirty="0" smtClean="0">
                <a:solidFill>
                  <a:schemeClr val="accent2">
                    <a:lumMod val="50000"/>
                  </a:schemeClr>
                </a:solidFill>
              </a:rPr>
              <a:t>Augmented Reality, IOT </a:t>
            </a:r>
            <a:r>
              <a:rPr lang="en-US" b="1" dirty="0">
                <a:solidFill>
                  <a:schemeClr val="accent2">
                    <a:lumMod val="50000"/>
                  </a:schemeClr>
                </a:solidFill>
              </a:rPr>
              <a:t>,</a:t>
            </a:r>
            <a:r>
              <a:rPr lang="en-US" b="1" dirty="0" smtClean="0">
                <a:solidFill>
                  <a:schemeClr val="accent2">
                    <a:lumMod val="50000"/>
                  </a:schemeClr>
                </a:solidFill>
              </a:rPr>
              <a:t> Block Chain and 3D Scanning</a:t>
            </a:r>
          </a:p>
          <a:p>
            <a:endParaRPr lang="en-US" b="1" dirty="0">
              <a:solidFill>
                <a:schemeClr val="accent2">
                  <a:lumMod val="50000"/>
                </a:schemeClr>
              </a:solidFill>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119" y="2428164"/>
            <a:ext cx="1609725"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6075" y="2247989"/>
            <a:ext cx="1609725"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27815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1">
            <a:extLst>
              <a:ext uri="{FF2B5EF4-FFF2-40B4-BE49-F238E27FC236}">
                <a16:creationId xmlns:a16="http://schemas.microsoft.com/office/drawing/2014/main" xmlns="" id="{C87F7D95-A004-4933-9357-16FB71778687}"/>
              </a:ext>
            </a:extLst>
          </p:cNvPr>
          <p:cNvSpPr>
            <a:spLocks noGrp="1"/>
          </p:cNvSpPr>
          <p:nvPr>
            <p:ph type="title"/>
          </p:nvPr>
        </p:nvSpPr>
        <p:spPr>
          <a:xfrm>
            <a:off x="457200" y="274642"/>
            <a:ext cx="10440534" cy="745601"/>
          </a:xfrm>
        </p:spPr>
        <p:txBody>
          <a:bodyPr/>
          <a:lstStyle/>
          <a:p>
            <a:r>
              <a:rPr lang="en-US" dirty="0" smtClean="0"/>
              <a:t>Solution Approach</a:t>
            </a:r>
            <a:endParaRPr lang="en-US" dirty="0"/>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1143000"/>
            <a:ext cx="8445500" cy="4251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9592" y="465493"/>
            <a:ext cx="696568" cy="666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3733800" y="96161"/>
            <a:ext cx="1097993" cy="338554"/>
          </a:xfrm>
          <a:prstGeom prst="rect">
            <a:avLst/>
          </a:prstGeom>
          <a:noFill/>
        </p:spPr>
        <p:txBody>
          <a:bodyPr wrap="none" rtlCol="0">
            <a:spAutoFit/>
          </a:bodyPr>
          <a:lstStyle/>
          <a:p>
            <a:r>
              <a:rPr lang="en-US" sz="1600" dirty="0" smtClean="0"/>
              <a:t>Operator</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6054" y="2881343"/>
            <a:ext cx="696568" cy="666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654916" y="2512011"/>
            <a:ext cx="1097993" cy="338554"/>
          </a:xfrm>
          <a:prstGeom prst="rect">
            <a:avLst/>
          </a:prstGeom>
          <a:noFill/>
        </p:spPr>
        <p:txBody>
          <a:bodyPr wrap="none" rtlCol="0">
            <a:spAutoFit/>
          </a:bodyPr>
          <a:lstStyle/>
          <a:p>
            <a:r>
              <a:rPr lang="en-US" sz="1600" dirty="0" smtClean="0"/>
              <a:t>Operator</a:t>
            </a:r>
            <a:endParaRPr lang="en-US" dirty="0"/>
          </a:p>
        </p:txBody>
      </p:sp>
      <p:pic>
        <p:nvPicPr>
          <p:cNvPr id="2560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482" y="4146701"/>
            <a:ext cx="595313"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67999" y="1981200"/>
            <a:ext cx="847725" cy="700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67914" y="3726244"/>
            <a:ext cx="696568" cy="666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10612123" y="3329385"/>
            <a:ext cx="1097993" cy="338554"/>
          </a:xfrm>
          <a:prstGeom prst="rect">
            <a:avLst/>
          </a:prstGeom>
          <a:noFill/>
        </p:spPr>
        <p:txBody>
          <a:bodyPr wrap="none" rtlCol="0">
            <a:spAutoFit/>
          </a:bodyPr>
          <a:lstStyle/>
          <a:p>
            <a:r>
              <a:rPr lang="en-US" sz="1600" dirty="0" smtClean="0"/>
              <a:t>Operator</a:t>
            </a:r>
            <a:endParaRPr lang="en-US" dirty="0"/>
          </a:p>
        </p:txBody>
      </p:sp>
      <p:sp>
        <p:nvSpPr>
          <p:cNvPr id="21" name="TextBox 20"/>
          <p:cNvSpPr txBox="1"/>
          <p:nvPr/>
        </p:nvSpPr>
        <p:spPr>
          <a:xfrm>
            <a:off x="10538983" y="1422435"/>
            <a:ext cx="1491114" cy="338554"/>
          </a:xfrm>
          <a:prstGeom prst="rect">
            <a:avLst/>
          </a:prstGeom>
          <a:noFill/>
        </p:spPr>
        <p:txBody>
          <a:bodyPr wrap="none" rtlCol="0">
            <a:spAutoFit/>
          </a:bodyPr>
          <a:lstStyle/>
          <a:p>
            <a:r>
              <a:rPr lang="en-US" sz="1600" dirty="0" smtClean="0"/>
              <a:t>3D Scanning</a:t>
            </a:r>
            <a:endParaRPr lang="en-US" sz="1600" dirty="0"/>
          </a:p>
        </p:txBody>
      </p:sp>
      <p:pic>
        <p:nvPicPr>
          <p:cNvPr id="25605"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57269" y="465493"/>
            <a:ext cx="446681" cy="715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Box 29"/>
          <p:cNvSpPr txBox="1"/>
          <p:nvPr/>
        </p:nvSpPr>
        <p:spPr>
          <a:xfrm>
            <a:off x="5376533" y="149423"/>
            <a:ext cx="1173719" cy="307777"/>
          </a:xfrm>
          <a:prstGeom prst="rect">
            <a:avLst/>
          </a:prstGeom>
          <a:noFill/>
        </p:spPr>
        <p:txBody>
          <a:bodyPr wrap="none" rtlCol="0">
            <a:spAutoFit/>
          </a:bodyPr>
          <a:lstStyle/>
          <a:p>
            <a:r>
              <a:rPr lang="en-US" sz="1400" dirty="0" smtClean="0"/>
              <a:t>Mobile App</a:t>
            </a:r>
            <a:endParaRPr lang="en-US" sz="1400" dirty="0"/>
          </a:p>
        </p:txBody>
      </p:sp>
      <p:cxnSp>
        <p:nvCxnSpPr>
          <p:cNvPr id="31" name="Straight Arrow Connector 30"/>
          <p:cNvCxnSpPr/>
          <p:nvPr/>
        </p:nvCxnSpPr>
        <p:spPr>
          <a:xfrm>
            <a:off x="4831793" y="798956"/>
            <a:ext cx="80700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560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46365" y="5033358"/>
            <a:ext cx="1276350" cy="1190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10855404" y="6251706"/>
            <a:ext cx="1107996" cy="338554"/>
          </a:xfrm>
          <a:prstGeom prst="rect">
            <a:avLst/>
          </a:prstGeom>
          <a:noFill/>
        </p:spPr>
        <p:txBody>
          <a:bodyPr wrap="none" rtlCol="0">
            <a:spAutoFit/>
          </a:bodyPr>
          <a:lstStyle/>
          <a:p>
            <a:r>
              <a:rPr lang="en-US" sz="1600" dirty="0" smtClean="0"/>
              <a:t>Analytics</a:t>
            </a:r>
            <a:endParaRPr lang="en-US" sz="1600" dirty="0"/>
          </a:p>
        </p:txBody>
      </p:sp>
      <p:cxnSp>
        <p:nvCxnSpPr>
          <p:cNvPr id="25608" name="Straight Arrow Connector 25607"/>
          <p:cNvCxnSpPr>
            <a:endCxn id="15" idx="2"/>
          </p:cNvCxnSpPr>
          <p:nvPr/>
        </p:nvCxnSpPr>
        <p:spPr>
          <a:xfrm flipV="1">
            <a:off x="11216198" y="4393171"/>
            <a:ext cx="0" cy="6401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11" name="Straight Arrow Connector 25610"/>
          <p:cNvCxnSpPr>
            <a:endCxn id="16" idx="0"/>
          </p:cNvCxnSpPr>
          <p:nvPr/>
        </p:nvCxnSpPr>
        <p:spPr>
          <a:xfrm>
            <a:off x="11091861" y="2681288"/>
            <a:ext cx="69259" cy="6480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13" name="Straight Arrow Connector 25612"/>
          <p:cNvCxnSpPr>
            <a:endCxn id="25604" idx="1"/>
          </p:cNvCxnSpPr>
          <p:nvPr/>
        </p:nvCxnSpPr>
        <p:spPr>
          <a:xfrm>
            <a:off x="10210800" y="2331244"/>
            <a:ext cx="4571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18" name="Straight Arrow Connector 25617"/>
          <p:cNvCxnSpPr/>
          <p:nvPr/>
        </p:nvCxnSpPr>
        <p:spPr>
          <a:xfrm flipH="1">
            <a:off x="1488794" y="4393171"/>
            <a:ext cx="64480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626" name="Elbow Connector 25625"/>
          <p:cNvCxnSpPr>
            <a:endCxn id="25605" idx="3"/>
          </p:cNvCxnSpPr>
          <p:nvPr/>
        </p:nvCxnSpPr>
        <p:spPr>
          <a:xfrm rot="10800000">
            <a:off x="6203950" y="823218"/>
            <a:ext cx="654050" cy="357723"/>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pic>
        <p:nvPicPr>
          <p:cNvPr id="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8364" y="5598544"/>
            <a:ext cx="885221" cy="8224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 name="Straight Arrow Connector 5"/>
          <p:cNvCxnSpPr/>
          <p:nvPr/>
        </p:nvCxnSpPr>
        <p:spPr>
          <a:xfrm>
            <a:off x="6530974" y="5366822"/>
            <a:ext cx="0" cy="2317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6973585" y="6009763"/>
            <a:ext cx="346581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rot="10800000">
            <a:off x="1203913" y="4790746"/>
            <a:ext cx="4794125" cy="857161"/>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191138" y="3667939"/>
            <a:ext cx="12774" cy="3917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248400" y="6400800"/>
            <a:ext cx="554767" cy="338554"/>
          </a:xfrm>
          <a:prstGeom prst="rect">
            <a:avLst/>
          </a:prstGeom>
          <a:noFill/>
        </p:spPr>
        <p:txBody>
          <a:bodyPr wrap="none" rtlCol="0">
            <a:spAutoFit/>
          </a:bodyPr>
          <a:lstStyle/>
          <a:p>
            <a:r>
              <a:rPr lang="en-US" sz="1600" dirty="0" smtClean="0"/>
              <a:t>IOT</a:t>
            </a:r>
            <a:endParaRPr lang="en-US" dirty="0"/>
          </a:p>
        </p:txBody>
      </p:sp>
    </p:spTree>
    <p:extLst>
      <p:ext uri="{BB962C8B-B14F-4D97-AF65-F5344CB8AC3E}">
        <p14:creationId xmlns:p14="http://schemas.microsoft.com/office/powerpoint/2010/main" val="39338992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Features</a:t>
            </a:r>
            <a:endParaRPr lang="en-US" dirty="0"/>
          </a:p>
        </p:txBody>
      </p:sp>
      <p:grpSp>
        <p:nvGrpSpPr>
          <p:cNvPr id="8" name="Group 7"/>
          <p:cNvGrpSpPr/>
          <p:nvPr/>
        </p:nvGrpSpPr>
        <p:grpSpPr>
          <a:xfrm>
            <a:off x="1019515" y="3001535"/>
            <a:ext cx="1238301" cy="1237333"/>
            <a:chOff x="724537" y="3258286"/>
            <a:chExt cx="1238301" cy="1237333"/>
          </a:xfrm>
        </p:grpSpPr>
        <p:sp>
          <p:nvSpPr>
            <p:cNvPr id="9" name="Rounded Rectangle 8"/>
            <p:cNvSpPr/>
            <p:nvPr/>
          </p:nvSpPr>
          <p:spPr>
            <a:xfrm>
              <a:off x="724537" y="3258286"/>
              <a:ext cx="1064066" cy="1064066"/>
            </a:xfrm>
            <a:prstGeom prst="roundRect">
              <a:avLst>
                <a:gd name="adj" fmla="val 10715"/>
              </a:avLst>
            </a:prstGeom>
            <a:solidFill>
              <a:schemeClr val="bg1"/>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0" name="Group 9"/>
            <p:cNvGrpSpPr/>
            <p:nvPr/>
          </p:nvGrpSpPr>
          <p:grpSpPr>
            <a:xfrm>
              <a:off x="915494" y="4117515"/>
              <a:ext cx="1047344" cy="378104"/>
              <a:chOff x="1271057" y="3783817"/>
              <a:chExt cx="1047344" cy="378104"/>
            </a:xfrm>
            <a:solidFill>
              <a:srgbClr val="262626"/>
            </a:solidFill>
          </p:grpSpPr>
          <p:sp>
            <p:nvSpPr>
              <p:cNvPr id="11" name="Rectangle 10"/>
              <p:cNvSpPr/>
              <p:nvPr/>
            </p:nvSpPr>
            <p:spPr>
              <a:xfrm>
                <a:off x="1271057" y="3783817"/>
                <a:ext cx="996687" cy="3781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2" name="TextBox 11"/>
              <p:cNvSpPr txBox="1"/>
              <p:nvPr/>
            </p:nvSpPr>
            <p:spPr>
              <a:xfrm>
                <a:off x="1271057" y="3834370"/>
                <a:ext cx="1047344" cy="276999"/>
              </a:xfrm>
              <a:prstGeom prst="rect">
                <a:avLst/>
              </a:prstGeom>
              <a:noFill/>
            </p:spPr>
            <p:txBody>
              <a:bodyPr wrap="square" rtlCol="0" anchor="ctr">
                <a:spAutoFit/>
              </a:bodyPr>
              <a:lstStyle/>
              <a:p>
                <a:pPr algn="ctr"/>
                <a:r>
                  <a:rPr lang="en-US" altLang="ko-KR" sz="1200" b="1" dirty="0" smtClean="0">
                    <a:solidFill>
                      <a:schemeClr val="bg1"/>
                    </a:solidFill>
                  </a:rPr>
                  <a:t>Efficiency</a:t>
                </a:r>
                <a:endParaRPr lang="ko-KR" altLang="en-US" sz="1200" b="1" dirty="0">
                  <a:solidFill>
                    <a:schemeClr val="bg1"/>
                  </a:solidFill>
                </a:endParaRPr>
              </a:p>
            </p:txBody>
          </p:sp>
        </p:grpSp>
      </p:grpSp>
      <p:grpSp>
        <p:nvGrpSpPr>
          <p:cNvPr id="13" name="Group 12"/>
          <p:cNvGrpSpPr/>
          <p:nvPr/>
        </p:nvGrpSpPr>
        <p:grpSpPr>
          <a:xfrm>
            <a:off x="7695609" y="3001535"/>
            <a:ext cx="1266047" cy="1237333"/>
            <a:chOff x="7081717" y="3258286"/>
            <a:chExt cx="1266047" cy="1237333"/>
          </a:xfrm>
        </p:grpSpPr>
        <p:sp>
          <p:nvSpPr>
            <p:cNvPr id="14" name="Rounded Rectangle 13"/>
            <p:cNvSpPr/>
            <p:nvPr/>
          </p:nvSpPr>
          <p:spPr>
            <a:xfrm>
              <a:off x="7081717" y="3258286"/>
              <a:ext cx="1064066" cy="1064066"/>
            </a:xfrm>
            <a:prstGeom prst="roundRect">
              <a:avLst>
                <a:gd name="adj" fmla="val 10715"/>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5" name="Group 14"/>
            <p:cNvGrpSpPr/>
            <p:nvPr/>
          </p:nvGrpSpPr>
          <p:grpSpPr>
            <a:xfrm>
              <a:off x="7351077" y="4117515"/>
              <a:ext cx="996687" cy="378104"/>
              <a:chOff x="1271057" y="3783817"/>
              <a:chExt cx="996687" cy="378104"/>
            </a:xfrm>
            <a:solidFill>
              <a:srgbClr val="F07927"/>
            </a:solidFill>
          </p:grpSpPr>
          <p:sp>
            <p:nvSpPr>
              <p:cNvPr id="16" name="Rectangle 15"/>
              <p:cNvSpPr/>
              <p:nvPr/>
            </p:nvSpPr>
            <p:spPr>
              <a:xfrm>
                <a:off x="1271057" y="3783817"/>
                <a:ext cx="996687" cy="3781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7" name="TextBox 16"/>
              <p:cNvSpPr txBox="1"/>
              <p:nvPr/>
            </p:nvSpPr>
            <p:spPr>
              <a:xfrm>
                <a:off x="1271058" y="3834370"/>
                <a:ext cx="996686" cy="276999"/>
              </a:xfrm>
              <a:prstGeom prst="rect">
                <a:avLst/>
              </a:prstGeom>
              <a:noFill/>
            </p:spPr>
            <p:txBody>
              <a:bodyPr wrap="square" rtlCol="0" anchor="ctr">
                <a:spAutoFit/>
              </a:bodyPr>
              <a:lstStyle/>
              <a:p>
                <a:pPr algn="ctr"/>
                <a:r>
                  <a:rPr lang="en-US" altLang="ko-KR" sz="1200" b="1" dirty="0" err="1" smtClean="0">
                    <a:solidFill>
                      <a:schemeClr val="bg1"/>
                    </a:solidFill>
                  </a:rPr>
                  <a:t>IdleTime</a:t>
                </a:r>
                <a:endParaRPr lang="ko-KR" altLang="en-US" sz="1200" b="1" dirty="0">
                  <a:solidFill>
                    <a:schemeClr val="bg1"/>
                  </a:solidFill>
                </a:endParaRPr>
              </a:p>
            </p:txBody>
          </p:sp>
        </p:grpSp>
      </p:grpSp>
      <p:grpSp>
        <p:nvGrpSpPr>
          <p:cNvPr id="18" name="Group 17"/>
          <p:cNvGrpSpPr/>
          <p:nvPr/>
        </p:nvGrpSpPr>
        <p:grpSpPr>
          <a:xfrm>
            <a:off x="4318360" y="3001535"/>
            <a:ext cx="1226846" cy="1237333"/>
            <a:chOff x="3903127" y="3258286"/>
            <a:chExt cx="1226846" cy="1237333"/>
          </a:xfrm>
        </p:grpSpPr>
        <p:sp>
          <p:nvSpPr>
            <p:cNvPr id="19" name="Rounded Rectangle 18"/>
            <p:cNvSpPr/>
            <p:nvPr/>
          </p:nvSpPr>
          <p:spPr>
            <a:xfrm>
              <a:off x="3903127" y="3258286"/>
              <a:ext cx="1064066" cy="1064066"/>
            </a:xfrm>
            <a:prstGeom prst="roundRect">
              <a:avLst>
                <a:gd name="adj" fmla="val 10715"/>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0" name="Group 19"/>
            <p:cNvGrpSpPr/>
            <p:nvPr/>
          </p:nvGrpSpPr>
          <p:grpSpPr>
            <a:xfrm>
              <a:off x="4133286" y="4117515"/>
              <a:ext cx="996687" cy="378104"/>
              <a:chOff x="1271057" y="3783817"/>
              <a:chExt cx="996687" cy="378104"/>
            </a:xfrm>
          </p:grpSpPr>
          <p:sp>
            <p:nvSpPr>
              <p:cNvPr id="21" name="Rectangle 20"/>
              <p:cNvSpPr/>
              <p:nvPr/>
            </p:nvSpPr>
            <p:spPr>
              <a:xfrm>
                <a:off x="1271057" y="3783817"/>
                <a:ext cx="996687" cy="378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2" name="TextBox 21"/>
              <p:cNvSpPr txBox="1"/>
              <p:nvPr/>
            </p:nvSpPr>
            <p:spPr>
              <a:xfrm>
                <a:off x="1271058" y="3834370"/>
                <a:ext cx="996686" cy="276999"/>
              </a:xfrm>
              <a:prstGeom prst="rect">
                <a:avLst/>
              </a:prstGeom>
              <a:noFill/>
            </p:spPr>
            <p:txBody>
              <a:bodyPr wrap="square" rtlCol="0" anchor="ctr">
                <a:spAutoFit/>
              </a:bodyPr>
              <a:lstStyle/>
              <a:p>
                <a:pPr algn="ctr"/>
                <a:r>
                  <a:rPr lang="en-US" altLang="ko-KR" sz="1200" b="1" dirty="0" smtClean="0">
                    <a:solidFill>
                      <a:schemeClr val="bg1"/>
                    </a:solidFill>
                  </a:rPr>
                  <a:t>OLE/OEE</a:t>
                </a:r>
                <a:endParaRPr lang="ko-KR" altLang="en-US" sz="1200" b="1" dirty="0">
                  <a:solidFill>
                    <a:schemeClr val="bg1"/>
                  </a:solidFill>
                </a:endParaRPr>
              </a:p>
            </p:txBody>
          </p:sp>
        </p:grpSp>
      </p:grpSp>
      <p:grpSp>
        <p:nvGrpSpPr>
          <p:cNvPr id="23" name="Group 22"/>
          <p:cNvGrpSpPr/>
          <p:nvPr/>
        </p:nvGrpSpPr>
        <p:grpSpPr>
          <a:xfrm>
            <a:off x="2590800" y="2818568"/>
            <a:ext cx="1401395" cy="1247032"/>
            <a:chOff x="2245495" y="3075320"/>
            <a:chExt cx="1401395" cy="1247032"/>
          </a:xfrm>
        </p:grpSpPr>
        <p:sp>
          <p:nvSpPr>
            <p:cNvPr id="24" name="Rounded Rectangle 23"/>
            <p:cNvSpPr/>
            <p:nvPr/>
          </p:nvSpPr>
          <p:spPr>
            <a:xfrm>
              <a:off x="2313832" y="3258286"/>
              <a:ext cx="1064066" cy="1064066"/>
            </a:xfrm>
            <a:prstGeom prst="roundRect">
              <a:avLst>
                <a:gd name="adj" fmla="val 10715"/>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5" name="Group 24"/>
            <p:cNvGrpSpPr/>
            <p:nvPr/>
          </p:nvGrpSpPr>
          <p:grpSpPr>
            <a:xfrm>
              <a:off x="2245495" y="3075320"/>
              <a:ext cx="1401395" cy="378104"/>
              <a:chOff x="992162" y="3783817"/>
              <a:chExt cx="1401395" cy="378104"/>
            </a:xfrm>
          </p:grpSpPr>
          <p:sp>
            <p:nvSpPr>
              <p:cNvPr id="26" name="Rectangle 25"/>
              <p:cNvSpPr/>
              <p:nvPr/>
            </p:nvSpPr>
            <p:spPr>
              <a:xfrm>
                <a:off x="1144563" y="3783817"/>
                <a:ext cx="1123182" cy="3781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7" name="TextBox 26"/>
              <p:cNvSpPr txBox="1"/>
              <p:nvPr/>
            </p:nvSpPr>
            <p:spPr>
              <a:xfrm>
                <a:off x="992162" y="3834370"/>
                <a:ext cx="1401395" cy="276999"/>
              </a:xfrm>
              <a:prstGeom prst="rect">
                <a:avLst/>
              </a:prstGeom>
              <a:noFill/>
            </p:spPr>
            <p:txBody>
              <a:bodyPr wrap="square" rtlCol="0" anchor="ctr">
                <a:spAutoFit/>
              </a:bodyPr>
              <a:lstStyle/>
              <a:p>
                <a:pPr algn="ctr"/>
                <a:r>
                  <a:rPr lang="en-US" altLang="ko-KR" sz="1200" b="1" dirty="0" smtClean="0">
                    <a:solidFill>
                      <a:schemeClr val="bg1"/>
                    </a:solidFill>
                  </a:rPr>
                  <a:t>Productivity</a:t>
                </a:r>
                <a:endParaRPr lang="ko-KR" altLang="en-US" sz="1200" b="1" dirty="0">
                  <a:solidFill>
                    <a:schemeClr val="bg1"/>
                  </a:solidFill>
                </a:endParaRPr>
              </a:p>
            </p:txBody>
          </p:sp>
        </p:grpSp>
      </p:grpSp>
      <p:grpSp>
        <p:nvGrpSpPr>
          <p:cNvPr id="28" name="Group 27"/>
          <p:cNvGrpSpPr/>
          <p:nvPr/>
        </p:nvGrpSpPr>
        <p:grpSpPr>
          <a:xfrm>
            <a:off x="5997184" y="2818568"/>
            <a:ext cx="1246447" cy="1247032"/>
            <a:chOff x="5492422" y="3075320"/>
            <a:chExt cx="1246447" cy="1247032"/>
          </a:xfrm>
        </p:grpSpPr>
        <p:sp>
          <p:nvSpPr>
            <p:cNvPr id="29" name="Rounded Rectangle 28"/>
            <p:cNvSpPr/>
            <p:nvPr/>
          </p:nvSpPr>
          <p:spPr>
            <a:xfrm>
              <a:off x="5492422" y="3258286"/>
              <a:ext cx="1064066" cy="1064066"/>
            </a:xfrm>
            <a:prstGeom prst="roundRect">
              <a:avLst>
                <a:gd name="adj" fmla="val 10715"/>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30" name="Group 29"/>
            <p:cNvGrpSpPr/>
            <p:nvPr/>
          </p:nvGrpSpPr>
          <p:grpSpPr>
            <a:xfrm>
              <a:off x="5742182" y="3075320"/>
              <a:ext cx="996687" cy="378104"/>
              <a:chOff x="1271057" y="3783817"/>
              <a:chExt cx="996687" cy="378104"/>
            </a:xfrm>
          </p:grpSpPr>
          <p:sp>
            <p:nvSpPr>
              <p:cNvPr id="31" name="Rectangle 30"/>
              <p:cNvSpPr/>
              <p:nvPr/>
            </p:nvSpPr>
            <p:spPr>
              <a:xfrm>
                <a:off x="1271057" y="3783817"/>
                <a:ext cx="996687" cy="378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2" name="TextBox 31"/>
              <p:cNvSpPr txBox="1"/>
              <p:nvPr/>
            </p:nvSpPr>
            <p:spPr>
              <a:xfrm>
                <a:off x="1343065" y="3834370"/>
                <a:ext cx="852670" cy="276999"/>
              </a:xfrm>
              <a:prstGeom prst="rect">
                <a:avLst/>
              </a:prstGeom>
              <a:noFill/>
            </p:spPr>
            <p:txBody>
              <a:bodyPr wrap="square" rtlCol="0" anchor="ctr">
                <a:spAutoFit/>
              </a:bodyPr>
              <a:lstStyle/>
              <a:p>
                <a:pPr algn="ctr"/>
                <a:r>
                  <a:rPr lang="en-US" altLang="ko-KR" sz="1200" b="1" dirty="0" smtClean="0">
                    <a:solidFill>
                      <a:schemeClr val="bg1"/>
                    </a:solidFill>
                  </a:rPr>
                  <a:t>3D</a:t>
                </a:r>
                <a:endParaRPr lang="ko-KR" altLang="en-US" sz="1200" b="1" dirty="0">
                  <a:solidFill>
                    <a:schemeClr val="bg1"/>
                  </a:solidFill>
                </a:endParaRPr>
              </a:p>
            </p:txBody>
          </p:sp>
        </p:grpSp>
      </p:grpSp>
      <p:sp>
        <p:nvSpPr>
          <p:cNvPr id="33" name="Oval 21"/>
          <p:cNvSpPr/>
          <p:nvPr/>
        </p:nvSpPr>
        <p:spPr>
          <a:xfrm rot="20700000">
            <a:off x="1296569" y="3310096"/>
            <a:ext cx="509958" cy="446942"/>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34" name="Isosceles Triangle 41"/>
          <p:cNvSpPr/>
          <p:nvPr/>
        </p:nvSpPr>
        <p:spPr>
          <a:xfrm>
            <a:off x="3055473" y="3347086"/>
            <a:ext cx="312213" cy="448474"/>
          </a:xfrm>
          <a:custGeom>
            <a:avLst/>
            <a:gdLst>
              <a:gd name="connsiteX0" fmla="*/ 1367278 w 2736000"/>
              <a:gd name="connsiteY0" fmla="*/ 2273826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67278 w 2736000"/>
              <a:gd name="connsiteY5" fmla="*/ 2273826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273826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67278 w 2736000"/>
              <a:gd name="connsiteY5" fmla="*/ 2273826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45026 w 2736000"/>
              <a:gd name="connsiteY1" fmla="*/ 2558281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45026 w 2736000"/>
              <a:gd name="connsiteY1" fmla="*/ 2558281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66505 w 2736000"/>
              <a:gd name="connsiteY1" fmla="*/ 257362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66505 w 2736000"/>
              <a:gd name="connsiteY1" fmla="*/ 257362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63436 w 2736000"/>
              <a:gd name="connsiteY1" fmla="*/ 2564418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32752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2576 w 2736000"/>
              <a:gd name="connsiteY1" fmla="*/ 2576139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2576 w 2736000"/>
              <a:gd name="connsiteY1" fmla="*/ 2576139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36000" h="3930092">
                <a:moveTo>
                  <a:pt x="1367278" y="2418044"/>
                </a:moveTo>
                <a:cubicBezTo>
                  <a:pt x="1475622" y="2496498"/>
                  <a:pt x="1442256" y="2523346"/>
                  <a:pt x="1552576" y="2576139"/>
                </a:cubicBezTo>
                <a:cubicBezTo>
                  <a:pt x="1866725" y="2636040"/>
                  <a:pt x="2088000" y="3057033"/>
                  <a:pt x="2088000" y="3520946"/>
                </a:cubicBezTo>
                <a:lnTo>
                  <a:pt x="648080" y="3506285"/>
                </a:lnTo>
                <a:cubicBezTo>
                  <a:pt x="653073" y="3048089"/>
                  <a:pt x="871005" y="2673776"/>
                  <a:pt x="1182763" y="2571640"/>
                </a:cubicBezTo>
                <a:cubicBezTo>
                  <a:pt x="1280064" y="2508169"/>
                  <a:pt x="1254632" y="2499927"/>
                  <a:pt x="1367278" y="2418044"/>
                </a:cubicBezTo>
                <a:close/>
                <a:moveTo>
                  <a:pt x="648003" y="793859"/>
                </a:moveTo>
                <a:lnTo>
                  <a:pt x="2087849" y="808518"/>
                </a:lnTo>
                <a:cubicBezTo>
                  <a:pt x="2081743" y="1099400"/>
                  <a:pt x="1898532" y="1346081"/>
                  <a:pt x="1641214" y="1449982"/>
                </a:cubicBezTo>
                <a:cubicBezTo>
                  <a:pt x="1581100" y="1476031"/>
                  <a:pt x="1454311" y="1749732"/>
                  <a:pt x="1368003" y="1937706"/>
                </a:cubicBezTo>
                <a:cubicBezTo>
                  <a:pt x="1290978" y="1744554"/>
                  <a:pt x="1168712" y="1479962"/>
                  <a:pt x="1094068" y="1448735"/>
                </a:cubicBezTo>
                <a:cubicBezTo>
                  <a:pt x="831917" y="1343398"/>
                  <a:pt x="648003" y="1089607"/>
                  <a:pt x="648003" y="793859"/>
                </a:cubicBezTo>
                <a:close/>
                <a:moveTo>
                  <a:pt x="516625" y="299874"/>
                </a:moveTo>
                <a:lnTo>
                  <a:pt x="516625" y="449580"/>
                </a:lnTo>
                <a:cubicBezTo>
                  <a:pt x="516625" y="947043"/>
                  <a:pt x="728081" y="1374116"/>
                  <a:pt x="1029987" y="1557992"/>
                </a:cubicBezTo>
                <a:cubicBezTo>
                  <a:pt x="1152140" y="1645374"/>
                  <a:pt x="1146996" y="1879118"/>
                  <a:pt x="1146996" y="2057479"/>
                </a:cubicBezTo>
                <a:cubicBezTo>
                  <a:pt x="1146996" y="2199170"/>
                  <a:pt x="1165085" y="2330604"/>
                  <a:pt x="1055065" y="2431585"/>
                </a:cubicBezTo>
                <a:cubicBezTo>
                  <a:pt x="746548" y="2590263"/>
                  <a:pt x="539378" y="3004916"/>
                  <a:pt x="539378" y="3468615"/>
                </a:cubicBezTo>
                <a:lnTo>
                  <a:pt x="539378" y="3604591"/>
                </a:lnTo>
                <a:lnTo>
                  <a:pt x="2196077" y="3604591"/>
                </a:lnTo>
                <a:lnTo>
                  <a:pt x="2196077" y="3468615"/>
                </a:lnTo>
                <a:cubicBezTo>
                  <a:pt x="2196077" y="3023625"/>
                  <a:pt x="1980552" y="2629673"/>
                  <a:pt x="1695313" y="2440912"/>
                </a:cubicBezTo>
                <a:cubicBezTo>
                  <a:pt x="1597256" y="2355530"/>
                  <a:pt x="1621109" y="2199255"/>
                  <a:pt x="1617547" y="2049252"/>
                </a:cubicBezTo>
                <a:cubicBezTo>
                  <a:pt x="1614246" y="1910233"/>
                  <a:pt x="1594005" y="1638458"/>
                  <a:pt x="1719395" y="1540961"/>
                </a:cubicBezTo>
                <a:cubicBezTo>
                  <a:pt x="2008283" y="1349911"/>
                  <a:pt x="2207952" y="932979"/>
                  <a:pt x="2207952" y="449580"/>
                </a:cubicBezTo>
                <a:lnTo>
                  <a:pt x="2207952" y="299874"/>
                </a:lnTo>
                <a:lnTo>
                  <a:pt x="516625" y="299874"/>
                </a:lnTo>
                <a:close/>
                <a:moveTo>
                  <a:pt x="144000" y="0"/>
                </a:moveTo>
                <a:lnTo>
                  <a:pt x="2592000" y="0"/>
                </a:lnTo>
                <a:cubicBezTo>
                  <a:pt x="2671529" y="0"/>
                  <a:pt x="2736000" y="64471"/>
                  <a:pt x="2736000" y="144000"/>
                </a:cubicBezTo>
                <a:cubicBezTo>
                  <a:pt x="2736000" y="223529"/>
                  <a:pt x="2671529" y="288000"/>
                  <a:pt x="2592000" y="288000"/>
                </a:cubicBezTo>
                <a:lnTo>
                  <a:pt x="2396702" y="288000"/>
                </a:lnTo>
                <a:lnTo>
                  <a:pt x="2396702" y="413234"/>
                </a:lnTo>
                <a:cubicBezTo>
                  <a:pt x="2396702" y="964640"/>
                  <a:pt x="2159804" y="1441170"/>
                  <a:pt x="1815389" y="1665324"/>
                </a:cubicBezTo>
                <a:cubicBezTo>
                  <a:pt x="1718143" y="1767020"/>
                  <a:pt x="1749155" y="1822697"/>
                  <a:pt x="1753098" y="1974987"/>
                </a:cubicBezTo>
                <a:cubicBezTo>
                  <a:pt x="1757412" y="2141597"/>
                  <a:pt x="1739638" y="2200230"/>
                  <a:pt x="1825752" y="2312143"/>
                </a:cubicBezTo>
                <a:cubicBezTo>
                  <a:pt x="2164142" y="2539312"/>
                  <a:pt x="2395980" y="3011520"/>
                  <a:pt x="2395980" y="3557007"/>
                </a:cubicBezTo>
                <a:lnTo>
                  <a:pt x="2395980" y="3642092"/>
                </a:lnTo>
                <a:lnTo>
                  <a:pt x="2592000" y="3642092"/>
                </a:lnTo>
                <a:cubicBezTo>
                  <a:pt x="2671529" y="3642092"/>
                  <a:pt x="2736000" y="3706563"/>
                  <a:pt x="2736000" y="3786092"/>
                </a:cubicBezTo>
                <a:cubicBezTo>
                  <a:pt x="2736000" y="3865621"/>
                  <a:pt x="2671529" y="3930092"/>
                  <a:pt x="2592000" y="3930092"/>
                </a:cubicBezTo>
                <a:lnTo>
                  <a:pt x="144000" y="3930092"/>
                </a:lnTo>
                <a:cubicBezTo>
                  <a:pt x="64471" y="3930092"/>
                  <a:pt x="0" y="3865621"/>
                  <a:pt x="0" y="3786092"/>
                </a:cubicBezTo>
                <a:cubicBezTo>
                  <a:pt x="0" y="3706563"/>
                  <a:pt x="64471" y="3642092"/>
                  <a:pt x="144000" y="3642092"/>
                </a:cubicBezTo>
                <a:lnTo>
                  <a:pt x="338578" y="3642092"/>
                </a:lnTo>
                <a:lnTo>
                  <a:pt x="338578" y="3557007"/>
                </a:lnTo>
                <a:cubicBezTo>
                  <a:pt x="338578" y="2988551"/>
                  <a:pt x="590352" y="2499674"/>
                  <a:pt x="951672" y="2284199"/>
                </a:cubicBezTo>
                <a:cubicBezTo>
                  <a:pt x="1026597" y="2195332"/>
                  <a:pt x="1008559" y="2142287"/>
                  <a:pt x="1012216" y="1995181"/>
                </a:cubicBezTo>
                <a:cubicBezTo>
                  <a:pt x="1001243" y="1843296"/>
                  <a:pt x="1013640" y="1774963"/>
                  <a:pt x="943195" y="1693402"/>
                </a:cubicBezTo>
                <a:cubicBezTo>
                  <a:pt x="584785" y="1476413"/>
                  <a:pt x="339300" y="978710"/>
                  <a:pt x="339300" y="413234"/>
                </a:cubicBezTo>
                <a:lnTo>
                  <a:pt x="339300" y="288000"/>
                </a:lnTo>
                <a:lnTo>
                  <a:pt x="144000" y="288000"/>
                </a:lnTo>
                <a:cubicBezTo>
                  <a:pt x="64471" y="288000"/>
                  <a:pt x="0" y="223529"/>
                  <a:pt x="0" y="144000"/>
                </a:cubicBezTo>
                <a:cubicBezTo>
                  <a:pt x="0" y="64471"/>
                  <a:pt x="64471" y="0"/>
                  <a:pt x="144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36" name="Rounded Rectangle 24"/>
          <p:cNvSpPr/>
          <p:nvPr/>
        </p:nvSpPr>
        <p:spPr>
          <a:xfrm>
            <a:off x="6333101" y="3358887"/>
            <a:ext cx="451522" cy="349363"/>
          </a:xfrm>
          <a:custGeom>
            <a:avLst/>
            <a:gdLst/>
            <a:ahLst/>
            <a:cxnLst/>
            <a:rect l="l" t="t" r="r" b="b"/>
            <a:pathLst>
              <a:path w="3960000" h="3064028">
                <a:moveTo>
                  <a:pt x="1955333" y="1285185"/>
                </a:moveTo>
                <a:cubicBezTo>
                  <a:pt x="2192176" y="1285185"/>
                  <a:pt x="2384176" y="1477185"/>
                  <a:pt x="2384176" y="1714028"/>
                </a:cubicBezTo>
                <a:cubicBezTo>
                  <a:pt x="2384176" y="1950871"/>
                  <a:pt x="2192176" y="2142871"/>
                  <a:pt x="1955333" y="2142871"/>
                </a:cubicBezTo>
                <a:cubicBezTo>
                  <a:pt x="1718490" y="2142871"/>
                  <a:pt x="1526490" y="1950871"/>
                  <a:pt x="1526490" y="1714028"/>
                </a:cubicBezTo>
                <a:cubicBezTo>
                  <a:pt x="1526490" y="1477185"/>
                  <a:pt x="1718490" y="1285185"/>
                  <a:pt x="1955333" y="1285185"/>
                </a:cubicBezTo>
                <a:close/>
                <a:moveTo>
                  <a:pt x="1955333" y="1074136"/>
                </a:moveTo>
                <a:cubicBezTo>
                  <a:pt x="1601930" y="1074136"/>
                  <a:pt x="1315441" y="1360625"/>
                  <a:pt x="1315441" y="1714028"/>
                </a:cubicBezTo>
                <a:cubicBezTo>
                  <a:pt x="1315441" y="2067431"/>
                  <a:pt x="1601930" y="2353920"/>
                  <a:pt x="1955333" y="2353920"/>
                </a:cubicBezTo>
                <a:cubicBezTo>
                  <a:pt x="2308736" y="2353920"/>
                  <a:pt x="2595225" y="2067431"/>
                  <a:pt x="2595225" y="1714028"/>
                </a:cubicBezTo>
                <a:cubicBezTo>
                  <a:pt x="2595225" y="1360625"/>
                  <a:pt x="2308736" y="1074136"/>
                  <a:pt x="1955333" y="1074136"/>
                </a:cubicBezTo>
                <a:close/>
                <a:moveTo>
                  <a:pt x="1955333" y="849503"/>
                </a:moveTo>
                <a:cubicBezTo>
                  <a:pt x="2432797" y="849503"/>
                  <a:pt x="2819858" y="1236564"/>
                  <a:pt x="2819858" y="1714028"/>
                </a:cubicBezTo>
                <a:cubicBezTo>
                  <a:pt x="2819858" y="2191492"/>
                  <a:pt x="2432797" y="2578553"/>
                  <a:pt x="1955333" y="2578553"/>
                </a:cubicBezTo>
                <a:cubicBezTo>
                  <a:pt x="1477869" y="2578553"/>
                  <a:pt x="1090808" y="2191492"/>
                  <a:pt x="1090808" y="1714028"/>
                </a:cubicBezTo>
                <a:cubicBezTo>
                  <a:pt x="1090808" y="1236564"/>
                  <a:pt x="1477869" y="849503"/>
                  <a:pt x="1955333" y="849503"/>
                </a:cubicBezTo>
                <a:close/>
                <a:moveTo>
                  <a:pt x="3253503" y="756254"/>
                </a:moveTo>
                <a:cubicBezTo>
                  <a:pt x="3162525" y="756254"/>
                  <a:pt x="3088773" y="830006"/>
                  <a:pt x="3088773" y="920984"/>
                </a:cubicBezTo>
                <a:cubicBezTo>
                  <a:pt x="3088773" y="1011962"/>
                  <a:pt x="3162525" y="1085714"/>
                  <a:pt x="3253503" y="1085714"/>
                </a:cubicBezTo>
                <a:cubicBezTo>
                  <a:pt x="3344481" y="1085714"/>
                  <a:pt x="3418233" y="1011962"/>
                  <a:pt x="3418233" y="920984"/>
                </a:cubicBezTo>
                <a:cubicBezTo>
                  <a:pt x="3418233" y="830006"/>
                  <a:pt x="3344481" y="756254"/>
                  <a:pt x="3253503" y="756254"/>
                </a:cubicBezTo>
                <a:close/>
                <a:moveTo>
                  <a:pt x="1955333" y="744677"/>
                </a:moveTo>
                <a:cubicBezTo>
                  <a:pt x="1419975" y="744677"/>
                  <a:pt x="985982" y="1178670"/>
                  <a:pt x="985982" y="1714028"/>
                </a:cubicBezTo>
                <a:cubicBezTo>
                  <a:pt x="985982" y="2249386"/>
                  <a:pt x="1419975" y="2683379"/>
                  <a:pt x="1955333" y="2683379"/>
                </a:cubicBezTo>
                <a:cubicBezTo>
                  <a:pt x="2490691" y="2683379"/>
                  <a:pt x="2924684" y="2249386"/>
                  <a:pt x="2924684" y="1714028"/>
                </a:cubicBezTo>
                <a:cubicBezTo>
                  <a:pt x="2924684" y="1178670"/>
                  <a:pt x="2490691" y="744677"/>
                  <a:pt x="1955333" y="744677"/>
                </a:cubicBezTo>
                <a:close/>
                <a:moveTo>
                  <a:pt x="1333922" y="0"/>
                </a:moveTo>
                <a:lnTo>
                  <a:pt x="2626078" y="0"/>
                </a:lnTo>
                <a:lnTo>
                  <a:pt x="2717085" y="364028"/>
                </a:lnTo>
                <a:lnTo>
                  <a:pt x="3699990" y="364028"/>
                </a:lnTo>
                <a:cubicBezTo>
                  <a:pt x="3843590" y="364028"/>
                  <a:pt x="3960000" y="480438"/>
                  <a:pt x="3960000" y="624038"/>
                </a:cubicBezTo>
                <a:lnTo>
                  <a:pt x="3960000" y="2804018"/>
                </a:lnTo>
                <a:cubicBezTo>
                  <a:pt x="3960000" y="2947618"/>
                  <a:pt x="3843590" y="3064028"/>
                  <a:pt x="3699990" y="3064028"/>
                </a:cubicBezTo>
                <a:lnTo>
                  <a:pt x="260010" y="3064028"/>
                </a:lnTo>
                <a:cubicBezTo>
                  <a:pt x="116410" y="3064028"/>
                  <a:pt x="0" y="2947618"/>
                  <a:pt x="0" y="2804018"/>
                </a:cubicBezTo>
                <a:lnTo>
                  <a:pt x="0" y="624038"/>
                </a:lnTo>
                <a:cubicBezTo>
                  <a:pt x="0" y="480438"/>
                  <a:pt x="116410" y="364028"/>
                  <a:pt x="260010" y="364028"/>
                </a:cubicBezTo>
                <a:lnTo>
                  <a:pt x="443165" y="364028"/>
                </a:lnTo>
                <a:lnTo>
                  <a:pt x="443165" y="237982"/>
                </a:lnTo>
                <a:cubicBezTo>
                  <a:pt x="443165" y="195266"/>
                  <a:pt x="477794" y="160637"/>
                  <a:pt x="520510" y="160637"/>
                </a:cubicBezTo>
                <a:lnTo>
                  <a:pt x="1049896" y="160637"/>
                </a:lnTo>
                <a:cubicBezTo>
                  <a:pt x="1092612" y="160637"/>
                  <a:pt x="1127241" y="195266"/>
                  <a:pt x="1127241" y="237982"/>
                </a:cubicBezTo>
                <a:lnTo>
                  <a:pt x="1127241" y="364028"/>
                </a:lnTo>
                <a:lnTo>
                  <a:pt x="1242915" y="36402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7" name="Donut 15"/>
          <p:cNvSpPr/>
          <p:nvPr/>
        </p:nvSpPr>
        <p:spPr>
          <a:xfrm>
            <a:off x="8033569" y="3308701"/>
            <a:ext cx="452887" cy="449735"/>
          </a:xfrm>
          <a:custGeom>
            <a:avLst/>
            <a:gdLst/>
            <a:ahLst/>
            <a:cxnLst/>
            <a:rect l="l" t="t" r="r" b="b"/>
            <a:pathLst>
              <a:path w="3821708" h="3795110">
                <a:moveTo>
                  <a:pt x="1910854" y="903842"/>
                </a:moveTo>
                <a:lnTo>
                  <a:pt x="1793831" y="1129420"/>
                </a:lnTo>
                <a:lnTo>
                  <a:pt x="1791613" y="1129420"/>
                </a:lnTo>
                <a:lnTo>
                  <a:pt x="1791892" y="1133157"/>
                </a:lnTo>
                <a:lnTo>
                  <a:pt x="1791613" y="1133695"/>
                </a:lnTo>
                <a:lnTo>
                  <a:pt x="1791933" y="1133695"/>
                </a:lnTo>
                <a:lnTo>
                  <a:pt x="1833002" y="1683464"/>
                </a:lnTo>
                <a:cubicBezTo>
                  <a:pt x="1744939" y="1714584"/>
                  <a:pt x="1682254" y="1798749"/>
                  <a:pt x="1682254" y="1897555"/>
                </a:cubicBezTo>
                <a:cubicBezTo>
                  <a:pt x="1682254" y="2023808"/>
                  <a:pt x="1784602" y="2126156"/>
                  <a:pt x="1910855" y="2126156"/>
                </a:cubicBezTo>
                <a:cubicBezTo>
                  <a:pt x="1975561" y="2126156"/>
                  <a:pt x="2033988" y="2099273"/>
                  <a:pt x="2075304" y="2055803"/>
                </a:cubicBezTo>
                <a:lnTo>
                  <a:pt x="2443125" y="2288080"/>
                </a:lnTo>
                <a:lnTo>
                  <a:pt x="2443003" y="2288309"/>
                </a:lnTo>
                <a:lnTo>
                  <a:pt x="2443494" y="2288314"/>
                </a:lnTo>
                <a:lnTo>
                  <a:pt x="2446061" y="2289935"/>
                </a:lnTo>
                <a:lnTo>
                  <a:pt x="2446904" y="2288348"/>
                </a:lnTo>
                <a:lnTo>
                  <a:pt x="2652725" y="2290436"/>
                </a:lnTo>
                <a:lnTo>
                  <a:pt x="2535900" y="2120971"/>
                </a:lnTo>
                <a:lnTo>
                  <a:pt x="2536744" y="2119385"/>
                </a:lnTo>
                <a:lnTo>
                  <a:pt x="2533964" y="2118163"/>
                </a:lnTo>
                <a:lnTo>
                  <a:pt x="2533686" y="2117759"/>
                </a:lnTo>
                <a:lnTo>
                  <a:pt x="2533565" y="2117988"/>
                </a:lnTo>
                <a:lnTo>
                  <a:pt x="2134900" y="1942755"/>
                </a:lnTo>
                <a:cubicBezTo>
                  <a:pt x="2137918" y="1928156"/>
                  <a:pt x="2139456" y="1913035"/>
                  <a:pt x="2139456" y="1897555"/>
                </a:cubicBezTo>
                <a:cubicBezTo>
                  <a:pt x="2139456" y="1798748"/>
                  <a:pt x="2076770" y="1714583"/>
                  <a:pt x="1988706" y="1683463"/>
                </a:cubicBezTo>
                <a:lnTo>
                  <a:pt x="2029775" y="1133695"/>
                </a:lnTo>
                <a:lnTo>
                  <a:pt x="2030094" y="1133695"/>
                </a:lnTo>
                <a:lnTo>
                  <a:pt x="2029815" y="1133157"/>
                </a:lnTo>
                <a:lnTo>
                  <a:pt x="2030094" y="1129420"/>
                </a:lnTo>
                <a:lnTo>
                  <a:pt x="2027877" y="1129420"/>
                </a:lnTo>
                <a:close/>
                <a:moveTo>
                  <a:pt x="1910854" y="565406"/>
                </a:moveTo>
                <a:cubicBezTo>
                  <a:pt x="2646579" y="565406"/>
                  <a:pt x="3243002" y="1161829"/>
                  <a:pt x="3243002" y="1897554"/>
                </a:cubicBezTo>
                <a:cubicBezTo>
                  <a:pt x="3243002" y="2633279"/>
                  <a:pt x="2646579" y="3229702"/>
                  <a:pt x="1910854" y="3229702"/>
                </a:cubicBezTo>
                <a:cubicBezTo>
                  <a:pt x="1175129" y="3229702"/>
                  <a:pt x="578706" y="2633279"/>
                  <a:pt x="578706" y="1897554"/>
                </a:cubicBezTo>
                <a:cubicBezTo>
                  <a:pt x="578706" y="1161829"/>
                  <a:pt x="1175129" y="565406"/>
                  <a:pt x="1910854" y="565406"/>
                </a:cubicBezTo>
                <a:close/>
                <a:moveTo>
                  <a:pt x="1766837" y="367010"/>
                </a:moveTo>
                <a:cubicBezTo>
                  <a:pt x="1050362" y="432397"/>
                  <a:pt x="475174" y="981146"/>
                  <a:pt x="377476" y="1681610"/>
                </a:cubicBezTo>
                <a:lnTo>
                  <a:pt x="426306" y="1681610"/>
                </a:lnTo>
                <a:cubicBezTo>
                  <a:pt x="510474" y="1681610"/>
                  <a:pt x="578706" y="1746088"/>
                  <a:pt x="578706" y="1825626"/>
                </a:cubicBezTo>
                <a:cubicBezTo>
                  <a:pt x="578706" y="1905164"/>
                  <a:pt x="510474" y="1969642"/>
                  <a:pt x="426306" y="1969642"/>
                </a:cubicBezTo>
                <a:lnTo>
                  <a:pt x="364094" y="1969642"/>
                </a:lnTo>
                <a:cubicBezTo>
                  <a:pt x="398055" y="2738400"/>
                  <a:pt x="1003246" y="3359660"/>
                  <a:pt x="1769417" y="3427809"/>
                </a:cubicBezTo>
                <a:lnTo>
                  <a:pt x="1769417" y="3382101"/>
                </a:lnTo>
                <a:cubicBezTo>
                  <a:pt x="1769417" y="3297933"/>
                  <a:pt x="1833895" y="3229701"/>
                  <a:pt x="1913433" y="3229701"/>
                </a:cubicBezTo>
                <a:cubicBezTo>
                  <a:pt x="1992971" y="3229701"/>
                  <a:pt x="2057449" y="3297933"/>
                  <a:pt x="2057449" y="3382101"/>
                </a:cubicBezTo>
                <a:lnTo>
                  <a:pt x="2057449" y="3427707"/>
                </a:lnTo>
                <a:cubicBezTo>
                  <a:pt x="2804164" y="3358467"/>
                  <a:pt x="3396856" y="2764020"/>
                  <a:pt x="3455018" y="2020616"/>
                </a:cubicBezTo>
                <a:lnTo>
                  <a:pt x="3395402" y="2020616"/>
                </a:lnTo>
                <a:cubicBezTo>
                  <a:pt x="3311234" y="2020616"/>
                  <a:pt x="3243002" y="1956138"/>
                  <a:pt x="3243002" y="1876600"/>
                </a:cubicBezTo>
                <a:cubicBezTo>
                  <a:pt x="3243002" y="1797062"/>
                  <a:pt x="3311234" y="1732584"/>
                  <a:pt x="3395402" y="1732584"/>
                </a:cubicBezTo>
                <a:lnTo>
                  <a:pt x="3451747" y="1732584"/>
                </a:lnTo>
                <a:cubicBezTo>
                  <a:pt x="3374444" y="1008025"/>
                  <a:pt x="2788738" y="434055"/>
                  <a:pt x="2054869" y="367632"/>
                </a:cubicBezTo>
                <a:lnTo>
                  <a:pt x="2054869" y="407296"/>
                </a:lnTo>
                <a:cubicBezTo>
                  <a:pt x="2054869" y="491464"/>
                  <a:pt x="1990391" y="559696"/>
                  <a:pt x="1910853" y="559696"/>
                </a:cubicBezTo>
                <a:cubicBezTo>
                  <a:pt x="1831315" y="559696"/>
                  <a:pt x="1766837" y="491464"/>
                  <a:pt x="1766837" y="407296"/>
                </a:cubicBezTo>
                <a:close/>
                <a:moveTo>
                  <a:pt x="1910854" y="0"/>
                </a:moveTo>
                <a:cubicBezTo>
                  <a:pt x="2966190" y="0"/>
                  <a:pt x="3821708" y="849564"/>
                  <a:pt x="3821708" y="1897555"/>
                </a:cubicBezTo>
                <a:cubicBezTo>
                  <a:pt x="3821708" y="2945546"/>
                  <a:pt x="2966190" y="3795110"/>
                  <a:pt x="1910854" y="3795110"/>
                </a:cubicBezTo>
                <a:cubicBezTo>
                  <a:pt x="855518" y="3795110"/>
                  <a:pt x="0" y="2945546"/>
                  <a:pt x="0" y="1897555"/>
                </a:cubicBezTo>
                <a:cubicBezTo>
                  <a:pt x="0" y="849564"/>
                  <a:pt x="855518" y="0"/>
                  <a:pt x="191085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nvGrpSpPr>
          <p:cNvPr id="38" name="Group 37"/>
          <p:cNvGrpSpPr/>
          <p:nvPr/>
        </p:nvGrpSpPr>
        <p:grpSpPr>
          <a:xfrm>
            <a:off x="3225806" y="4471423"/>
            <a:ext cx="1411829" cy="1846659"/>
            <a:chOff x="6210997" y="1433695"/>
            <a:chExt cx="1457348" cy="1313758"/>
          </a:xfrm>
        </p:grpSpPr>
        <p:sp>
          <p:nvSpPr>
            <p:cNvPr id="39" name="TextBox 38"/>
            <p:cNvSpPr txBox="1"/>
            <p:nvPr/>
          </p:nvSpPr>
          <p:spPr>
            <a:xfrm>
              <a:off x="6210999" y="1433695"/>
              <a:ext cx="1457346" cy="197064"/>
            </a:xfrm>
            <a:prstGeom prst="rect">
              <a:avLst/>
            </a:prstGeom>
            <a:solidFill>
              <a:schemeClr val="accent1"/>
            </a:solidFill>
          </p:spPr>
          <p:txBody>
            <a:bodyPr wrap="square" rtlCol="0">
              <a:spAutoFit/>
            </a:bodyPr>
            <a:lstStyle/>
            <a:p>
              <a:r>
                <a:rPr lang="en-US" altLang="ko-KR" sz="1200" b="1" dirty="0" smtClean="0">
                  <a:solidFill>
                    <a:schemeClr val="bg1"/>
                  </a:solidFill>
                  <a:cs typeface="Arial" pitchFamily="34" charset="0"/>
                </a:rPr>
                <a:t>Productivity</a:t>
              </a:r>
              <a:endParaRPr lang="ko-KR" altLang="en-US" sz="1200" b="1" dirty="0">
                <a:solidFill>
                  <a:schemeClr val="bg1"/>
                </a:solidFill>
                <a:cs typeface="Arial" pitchFamily="34" charset="0"/>
              </a:endParaRPr>
            </a:p>
          </p:txBody>
        </p:sp>
        <p:sp>
          <p:nvSpPr>
            <p:cNvPr id="40" name="TextBox 39"/>
            <p:cNvSpPr txBox="1"/>
            <p:nvPr/>
          </p:nvSpPr>
          <p:spPr>
            <a:xfrm>
              <a:off x="6210997" y="1630759"/>
              <a:ext cx="1457346" cy="1116694"/>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Complete Analysis of total with ideal productivity</a:t>
              </a:r>
            </a:p>
            <a:p>
              <a:endParaRPr lang="en-US" altLang="ko-KR" sz="1200" dirty="0">
                <a:solidFill>
                  <a:schemeClr val="tx1">
                    <a:lumMod val="65000"/>
                    <a:lumOff val="35000"/>
                  </a:schemeClr>
                </a:solidFill>
                <a:cs typeface="Arial" pitchFamily="34" charset="0"/>
              </a:endParaRPr>
            </a:p>
            <a:p>
              <a:r>
                <a:rPr lang="en-US" altLang="ko-KR" sz="1200" dirty="0" smtClean="0">
                  <a:solidFill>
                    <a:schemeClr val="tx1">
                      <a:lumMod val="65000"/>
                      <a:lumOff val="35000"/>
                    </a:schemeClr>
                  </a:solidFill>
                  <a:cs typeface="Arial" pitchFamily="34" charset="0"/>
                </a:rPr>
                <a:t>Identifying bottleneck machines</a:t>
              </a:r>
              <a:endParaRPr lang="ko-KR" altLang="en-US" sz="1200" dirty="0">
                <a:solidFill>
                  <a:schemeClr val="tx1">
                    <a:lumMod val="65000"/>
                    <a:lumOff val="35000"/>
                  </a:schemeClr>
                </a:solidFill>
                <a:cs typeface="Arial" pitchFamily="34" charset="0"/>
              </a:endParaRPr>
            </a:p>
          </p:txBody>
        </p:sp>
      </p:grpSp>
      <p:grpSp>
        <p:nvGrpSpPr>
          <p:cNvPr id="41" name="Group 40"/>
          <p:cNvGrpSpPr/>
          <p:nvPr/>
        </p:nvGrpSpPr>
        <p:grpSpPr>
          <a:xfrm>
            <a:off x="6573612" y="4471423"/>
            <a:ext cx="1411829" cy="1846659"/>
            <a:chOff x="6210997" y="1433695"/>
            <a:chExt cx="1457348" cy="1313758"/>
          </a:xfrm>
        </p:grpSpPr>
        <p:sp>
          <p:nvSpPr>
            <p:cNvPr id="42" name="TextBox 41"/>
            <p:cNvSpPr txBox="1"/>
            <p:nvPr/>
          </p:nvSpPr>
          <p:spPr>
            <a:xfrm>
              <a:off x="6210999" y="1433695"/>
              <a:ext cx="1457346" cy="197064"/>
            </a:xfrm>
            <a:prstGeom prst="rect">
              <a:avLst/>
            </a:prstGeom>
            <a:solidFill>
              <a:schemeClr val="accent3"/>
            </a:solidFill>
          </p:spPr>
          <p:txBody>
            <a:bodyPr wrap="square" rtlCol="0">
              <a:spAutoFit/>
            </a:bodyPr>
            <a:lstStyle/>
            <a:p>
              <a:r>
                <a:rPr lang="en-US" altLang="ko-KR" sz="1200" b="1" dirty="0" smtClean="0">
                  <a:solidFill>
                    <a:schemeClr val="bg1"/>
                  </a:solidFill>
                  <a:cs typeface="Arial" pitchFamily="34" charset="0"/>
                </a:rPr>
                <a:t>3D Scanning</a:t>
              </a:r>
              <a:endParaRPr lang="ko-KR" altLang="en-US" sz="1200" b="1" dirty="0">
                <a:solidFill>
                  <a:schemeClr val="bg1"/>
                </a:solidFill>
                <a:cs typeface="Arial" pitchFamily="34" charset="0"/>
              </a:endParaRPr>
            </a:p>
          </p:txBody>
        </p:sp>
        <p:sp>
          <p:nvSpPr>
            <p:cNvPr id="43" name="TextBox 42"/>
            <p:cNvSpPr txBox="1"/>
            <p:nvPr/>
          </p:nvSpPr>
          <p:spPr>
            <a:xfrm>
              <a:off x="6210997" y="1630759"/>
              <a:ext cx="1457346" cy="1116694"/>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Capturing the physical measurements of any physical object.      </a:t>
              </a:r>
            </a:p>
            <a:p>
              <a:endParaRPr lang="en-US" altLang="ko-KR" sz="1200" dirty="0">
                <a:solidFill>
                  <a:schemeClr val="tx1">
                    <a:lumMod val="65000"/>
                    <a:lumOff val="35000"/>
                  </a:schemeClr>
                </a:solidFill>
                <a:cs typeface="Arial" pitchFamily="34" charset="0"/>
              </a:endParaRPr>
            </a:p>
            <a:p>
              <a:r>
                <a:rPr lang="en-US" altLang="ko-KR" sz="1200" dirty="0" smtClean="0">
                  <a:solidFill>
                    <a:schemeClr val="tx1">
                      <a:lumMod val="65000"/>
                      <a:lumOff val="35000"/>
                    </a:schemeClr>
                  </a:solidFill>
                  <a:cs typeface="Arial" pitchFamily="34" charset="0"/>
                </a:rPr>
                <a:t>Saving time in design work </a:t>
              </a:r>
              <a:endParaRPr lang="ko-KR" altLang="en-US" sz="1200" dirty="0">
                <a:solidFill>
                  <a:schemeClr val="tx1">
                    <a:lumMod val="65000"/>
                    <a:lumOff val="35000"/>
                  </a:schemeClr>
                </a:solidFill>
                <a:cs typeface="Arial" pitchFamily="34" charset="0"/>
              </a:endParaRPr>
            </a:p>
          </p:txBody>
        </p:sp>
      </p:grpSp>
      <p:grpSp>
        <p:nvGrpSpPr>
          <p:cNvPr id="44" name="Group 43"/>
          <p:cNvGrpSpPr/>
          <p:nvPr/>
        </p:nvGrpSpPr>
        <p:grpSpPr>
          <a:xfrm>
            <a:off x="1551903" y="1667470"/>
            <a:ext cx="1411829" cy="923330"/>
            <a:chOff x="6210997" y="1433695"/>
            <a:chExt cx="1457348" cy="656879"/>
          </a:xfrm>
        </p:grpSpPr>
        <p:sp>
          <p:nvSpPr>
            <p:cNvPr id="45" name="TextBox 44"/>
            <p:cNvSpPr txBox="1"/>
            <p:nvPr/>
          </p:nvSpPr>
          <p:spPr>
            <a:xfrm>
              <a:off x="6210999" y="1433695"/>
              <a:ext cx="1457346" cy="197064"/>
            </a:xfrm>
            <a:prstGeom prst="rect">
              <a:avLst/>
            </a:prstGeom>
            <a:solidFill>
              <a:schemeClr val="accent6"/>
            </a:solidFill>
          </p:spPr>
          <p:txBody>
            <a:bodyPr wrap="square" rtlCol="0">
              <a:spAutoFit/>
            </a:bodyPr>
            <a:lstStyle/>
            <a:p>
              <a:r>
                <a:rPr lang="en-US" altLang="ko-KR" sz="1200" b="1" dirty="0" smtClean="0">
                  <a:solidFill>
                    <a:schemeClr val="bg1"/>
                  </a:solidFill>
                  <a:cs typeface="Arial" pitchFamily="34" charset="0"/>
                </a:rPr>
                <a:t>Efficiency</a:t>
              </a:r>
              <a:endParaRPr lang="ko-KR" altLang="en-US" sz="1200" b="1" dirty="0">
                <a:solidFill>
                  <a:schemeClr val="bg1"/>
                </a:solidFill>
                <a:cs typeface="Arial" pitchFamily="34" charset="0"/>
              </a:endParaRPr>
            </a:p>
          </p:txBody>
        </p:sp>
        <p:sp>
          <p:nvSpPr>
            <p:cNvPr id="46" name="TextBox 45"/>
            <p:cNvSpPr txBox="1"/>
            <p:nvPr/>
          </p:nvSpPr>
          <p:spPr>
            <a:xfrm>
              <a:off x="6210997" y="1630759"/>
              <a:ext cx="1457346" cy="459815"/>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Each sub stage efficiency is calculated</a:t>
              </a:r>
              <a:endParaRPr lang="ko-KR" altLang="en-US" sz="1200" dirty="0">
                <a:solidFill>
                  <a:schemeClr val="tx1">
                    <a:lumMod val="65000"/>
                    <a:lumOff val="35000"/>
                  </a:schemeClr>
                </a:solidFill>
                <a:cs typeface="Arial" pitchFamily="34" charset="0"/>
              </a:endParaRPr>
            </a:p>
          </p:txBody>
        </p:sp>
      </p:grpSp>
      <p:grpSp>
        <p:nvGrpSpPr>
          <p:cNvPr id="47" name="Group 46"/>
          <p:cNvGrpSpPr/>
          <p:nvPr/>
        </p:nvGrpSpPr>
        <p:grpSpPr>
          <a:xfrm>
            <a:off x="4899709" y="1371598"/>
            <a:ext cx="1411829" cy="1661994"/>
            <a:chOff x="6210997" y="1433695"/>
            <a:chExt cx="1457348" cy="1182383"/>
          </a:xfrm>
        </p:grpSpPr>
        <p:sp>
          <p:nvSpPr>
            <p:cNvPr id="48" name="TextBox 47"/>
            <p:cNvSpPr txBox="1"/>
            <p:nvPr/>
          </p:nvSpPr>
          <p:spPr>
            <a:xfrm>
              <a:off x="6210999" y="1433695"/>
              <a:ext cx="1457346" cy="197064"/>
            </a:xfrm>
            <a:prstGeom prst="rect">
              <a:avLst/>
            </a:prstGeom>
            <a:solidFill>
              <a:schemeClr val="accent2"/>
            </a:solidFill>
          </p:spPr>
          <p:txBody>
            <a:bodyPr wrap="square" rtlCol="0">
              <a:spAutoFit/>
            </a:bodyPr>
            <a:lstStyle/>
            <a:p>
              <a:r>
                <a:rPr lang="en-US" altLang="ko-KR" sz="1200" b="1" dirty="0" smtClean="0">
                  <a:solidFill>
                    <a:schemeClr val="bg1"/>
                  </a:solidFill>
                  <a:cs typeface="Arial" pitchFamily="34" charset="0"/>
                </a:rPr>
                <a:t>OLE/OEE</a:t>
              </a:r>
              <a:endParaRPr lang="ko-KR" altLang="en-US" sz="1200" b="1" dirty="0">
                <a:solidFill>
                  <a:schemeClr val="bg1"/>
                </a:solidFill>
                <a:cs typeface="Arial" pitchFamily="34" charset="0"/>
              </a:endParaRPr>
            </a:p>
          </p:txBody>
        </p:sp>
        <p:sp>
          <p:nvSpPr>
            <p:cNvPr id="49" name="TextBox 48"/>
            <p:cNvSpPr txBox="1"/>
            <p:nvPr/>
          </p:nvSpPr>
          <p:spPr>
            <a:xfrm>
              <a:off x="6210997" y="1630759"/>
              <a:ext cx="1457346" cy="985319"/>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Overall effectiveness day and week with target is achieved using ML for every machines</a:t>
              </a:r>
              <a:endParaRPr lang="ko-KR" altLang="en-US" sz="1200" dirty="0">
                <a:solidFill>
                  <a:schemeClr val="tx1">
                    <a:lumMod val="65000"/>
                    <a:lumOff val="35000"/>
                  </a:schemeClr>
                </a:solidFill>
                <a:cs typeface="Arial" pitchFamily="34" charset="0"/>
              </a:endParaRPr>
            </a:p>
          </p:txBody>
        </p:sp>
      </p:grpSp>
      <p:grpSp>
        <p:nvGrpSpPr>
          <p:cNvPr id="50" name="Group 49"/>
          <p:cNvGrpSpPr/>
          <p:nvPr/>
        </p:nvGrpSpPr>
        <p:grpSpPr>
          <a:xfrm>
            <a:off x="8247515" y="1371599"/>
            <a:ext cx="1411829" cy="1477327"/>
            <a:chOff x="6210997" y="1433695"/>
            <a:chExt cx="1457348" cy="1051007"/>
          </a:xfrm>
        </p:grpSpPr>
        <p:sp>
          <p:nvSpPr>
            <p:cNvPr id="51" name="TextBox 50"/>
            <p:cNvSpPr txBox="1"/>
            <p:nvPr/>
          </p:nvSpPr>
          <p:spPr>
            <a:xfrm>
              <a:off x="6210999" y="1433695"/>
              <a:ext cx="1457346" cy="197064"/>
            </a:xfrm>
            <a:prstGeom prst="rect">
              <a:avLst/>
            </a:prstGeom>
            <a:solidFill>
              <a:schemeClr val="accent4"/>
            </a:solidFill>
          </p:spPr>
          <p:txBody>
            <a:bodyPr wrap="square" rtlCol="0">
              <a:spAutoFit/>
            </a:bodyPr>
            <a:lstStyle/>
            <a:p>
              <a:r>
                <a:rPr lang="en-US" altLang="ko-KR" sz="1200" b="1" dirty="0" smtClean="0">
                  <a:solidFill>
                    <a:schemeClr val="bg1"/>
                  </a:solidFill>
                  <a:cs typeface="Arial" pitchFamily="34" charset="0"/>
                </a:rPr>
                <a:t>Idle Time</a:t>
              </a:r>
              <a:endParaRPr lang="ko-KR" altLang="en-US" sz="1200" b="1" dirty="0">
                <a:solidFill>
                  <a:schemeClr val="bg1"/>
                </a:solidFill>
                <a:cs typeface="Arial" pitchFamily="34" charset="0"/>
              </a:endParaRPr>
            </a:p>
          </p:txBody>
        </p:sp>
        <p:sp>
          <p:nvSpPr>
            <p:cNvPr id="52" name="TextBox 51"/>
            <p:cNvSpPr txBox="1"/>
            <p:nvPr/>
          </p:nvSpPr>
          <p:spPr>
            <a:xfrm>
              <a:off x="6210997" y="1630758"/>
              <a:ext cx="1457346" cy="853944"/>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Machine’s idle time is captured to get identify efficiency of Line</a:t>
              </a:r>
              <a:endParaRPr lang="ko-KR" altLang="en-US" sz="1200" dirty="0">
                <a:solidFill>
                  <a:schemeClr val="tx1">
                    <a:lumMod val="65000"/>
                    <a:lumOff val="35000"/>
                  </a:schemeClr>
                </a:solidFill>
                <a:cs typeface="Arial" pitchFamily="34" charset="0"/>
              </a:endParaRPr>
            </a:p>
          </p:txBody>
        </p:sp>
      </p:grpSp>
      <p:grpSp>
        <p:nvGrpSpPr>
          <p:cNvPr id="53" name="Group 27">
            <a:extLst>
              <a:ext uri="{FF2B5EF4-FFF2-40B4-BE49-F238E27FC236}">
                <a16:creationId xmlns="" xmlns:a16="http://schemas.microsoft.com/office/drawing/2014/main" id="{1ADEC262-E33D-473D-9ADD-89730493F970}"/>
              </a:ext>
            </a:extLst>
          </p:cNvPr>
          <p:cNvGrpSpPr/>
          <p:nvPr/>
        </p:nvGrpSpPr>
        <p:grpSpPr>
          <a:xfrm>
            <a:off x="9413635" y="2818568"/>
            <a:ext cx="1246447" cy="1247032"/>
            <a:chOff x="5492422" y="3075320"/>
            <a:chExt cx="1246447" cy="1247032"/>
          </a:xfrm>
        </p:grpSpPr>
        <p:sp>
          <p:nvSpPr>
            <p:cNvPr id="54" name="Rounded Rectangle 28">
              <a:extLst>
                <a:ext uri="{FF2B5EF4-FFF2-40B4-BE49-F238E27FC236}">
                  <a16:creationId xmlns="" xmlns:a16="http://schemas.microsoft.com/office/drawing/2014/main" id="{619318B5-783B-47F9-A768-AC58B1C8C788}"/>
                </a:ext>
              </a:extLst>
            </p:cNvPr>
            <p:cNvSpPr/>
            <p:nvPr/>
          </p:nvSpPr>
          <p:spPr>
            <a:xfrm>
              <a:off x="5492422" y="3258286"/>
              <a:ext cx="1064066" cy="1064066"/>
            </a:xfrm>
            <a:prstGeom prst="roundRect">
              <a:avLst>
                <a:gd name="adj" fmla="val 10715"/>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55" name="Group 29">
              <a:extLst>
                <a:ext uri="{FF2B5EF4-FFF2-40B4-BE49-F238E27FC236}">
                  <a16:creationId xmlns="" xmlns:a16="http://schemas.microsoft.com/office/drawing/2014/main" id="{295BCD83-709D-48C0-94C4-78147E9B8FEB}"/>
                </a:ext>
              </a:extLst>
            </p:cNvPr>
            <p:cNvGrpSpPr/>
            <p:nvPr/>
          </p:nvGrpSpPr>
          <p:grpSpPr>
            <a:xfrm>
              <a:off x="5742182" y="3075320"/>
              <a:ext cx="996687" cy="378104"/>
              <a:chOff x="1271057" y="3783817"/>
              <a:chExt cx="996687" cy="378104"/>
            </a:xfrm>
          </p:grpSpPr>
          <p:sp>
            <p:nvSpPr>
              <p:cNvPr id="56" name="Rectangle 30">
                <a:extLst>
                  <a:ext uri="{FF2B5EF4-FFF2-40B4-BE49-F238E27FC236}">
                    <a16:creationId xmlns="" xmlns:a16="http://schemas.microsoft.com/office/drawing/2014/main" id="{A78AA5B1-5503-46D8-9C03-6114227AFC30}"/>
                  </a:ext>
                </a:extLst>
              </p:cNvPr>
              <p:cNvSpPr/>
              <p:nvPr/>
            </p:nvSpPr>
            <p:spPr>
              <a:xfrm>
                <a:off x="1271057" y="3783817"/>
                <a:ext cx="996687" cy="3781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57" name="TextBox 56">
                <a:extLst>
                  <a:ext uri="{FF2B5EF4-FFF2-40B4-BE49-F238E27FC236}">
                    <a16:creationId xmlns="" xmlns:a16="http://schemas.microsoft.com/office/drawing/2014/main" id="{D6F0EB00-A1EF-46F5-A79F-0F83528F1EB6}"/>
                  </a:ext>
                </a:extLst>
              </p:cNvPr>
              <p:cNvSpPr txBox="1"/>
              <p:nvPr/>
            </p:nvSpPr>
            <p:spPr>
              <a:xfrm>
                <a:off x="1343065" y="3834370"/>
                <a:ext cx="852670" cy="276999"/>
              </a:xfrm>
              <a:prstGeom prst="rect">
                <a:avLst/>
              </a:prstGeom>
              <a:noFill/>
            </p:spPr>
            <p:txBody>
              <a:bodyPr wrap="square" rtlCol="0" anchor="ctr">
                <a:spAutoFit/>
              </a:bodyPr>
              <a:lstStyle/>
              <a:p>
                <a:pPr algn="ctr"/>
                <a:r>
                  <a:rPr lang="en-US" altLang="ko-KR" sz="1200" b="1" dirty="0" smtClean="0">
                    <a:solidFill>
                      <a:schemeClr val="bg1"/>
                    </a:solidFill>
                  </a:rPr>
                  <a:t>Worker</a:t>
                </a:r>
                <a:endParaRPr lang="ko-KR" altLang="en-US" sz="1200" b="1" dirty="0">
                  <a:solidFill>
                    <a:schemeClr val="bg1"/>
                  </a:solidFill>
                </a:endParaRPr>
              </a:p>
            </p:txBody>
          </p:sp>
        </p:grpSp>
      </p:grpSp>
      <p:sp>
        <p:nvSpPr>
          <p:cNvPr id="58" name="Block Arc 32">
            <a:extLst>
              <a:ext uri="{FF2B5EF4-FFF2-40B4-BE49-F238E27FC236}">
                <a16:creationId xmlns="" xmlns:a16="http://schemas.microsoft.com/office/drawing/2014/main" id="{A4E6EBE5-6723-4E24-9590-FAFBC6E9D78C}"/>
              </a:ext>
            </a:extLst>
          </p:cNvPr>
          <p:cNvSpPr/>
          <p:nvPr/>
        </p:nvSpPr>
        <p:spPr>
          <a:xfrm rot="10800000">
            <a:off x="8433584" y="3423120"/>
            <a:ext cx="1496058" cy="1496058"/>
          </a:xfrm>
          <a:prstGeom prst="blockArc">
            <a:avLst>
              <a:gd name="adj1" fmla="val 10800000"/>
              <a:gd name="adj2" fmla="val 21403479"/>
              <a:gd name="adj3" fmla="val 368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nvGrpSpPr>
          <p:cNvPr id="59" name="Group 43">
            <a:extLst>
              <a:ext uri="{FF2B5EF4-FFF2-40B4-BE49-F238E27FC236}">
                <a16:creationId xmlns="" xmlns:a16="http://schemas.microsoft.com/office/drawing/2014/main" id="{B9842C4A-E962-47F6-95B2-EF8431DCB8A7}"/>
              </a:ext>
            </a:extLst>
          </p:cNvPr>
          <p:cNvGrpSpPr/>
          <p:nvPr/>
        </p:nvGrpSpPr>
        <p:grpSpPr>
          <a:xfrm>
            <a:off x="9921419" y="4471423"/>
            <a:ext cx="1411829" cy="1661994"/>
            <a:chOff x="6210997" y="1433695"/>
            <a:chExt cx="1457348" cy="1182383"/>
          </a:xfrm>
        </p:grpSpPr>
        <p:sp>
          <p:nvSpPr>
            <p:cNvPr id="60" name="TextBox 59">
              <a:extLst>
                <a:ext uri="{FF2B5EF4-FFF2-40B4-BE49-F238E27FC236}">
                  <a16:creationId xmlns="" xmlns:a16="http://schemas.microsoft.com/office/drawing/2014/main" id="{DA6DF410-9B3B-4B5E-8586-BB29C08CE8B2}"/>
                </a:ext>
              </a:extLst>
            </p:cNvPr>
            <p:cNvSpPr txBox="1"/>
            <p:nvPr/>
          </p:nvSpPr>
          <p:spPr>
            <a:xfrm>
              <a:off x="6210999" y="1433695"/>
              <a:ext cx="1457346" cy="197064"/>
            </a:xfrm>
            <a:prstGeom prst="rect">
              <a:avLst/>
            </a:prstGeom>
            <a:solidFill>
              <a:schemeClr val="accent5"/>
            </a:solidFill>
          </p:spPr>
          <p:txBody>
            <a:bodyPr wrap="square" rtlCol="0">
              <a:spAutoFit/>
            </a:bodyPr>
            <a:lstStyle/>
            <a:p>
              <a:r>
                <a:rPr lang="en-US" altLang="ko-KR" sz="1200" b="1" dirty="0" smtClean="0">
                  <a:solidFill>
                    <a:schemeClr val="bg1"/>
                  </a:solidFill>
                  <a:cs typeface="Arial" pitchFamily="34" charset="0"/>
                </a:rPr>
                <a:t>Worker</a:t>
              </a:r>
              <a:endParaRPr lang="ko-KR" altLang="en-US" sz="1200" b="1" dirty="0">
                <a:solidFill>
                  <a:schemeClr val="bg1"/>
                </a:solidFill>
                <a:cs typeface="Arial" pitchFamily="34" charset="0"/>
              </a:endParaRPr>
            </a:p>
          </p:txBody>
        </p:sp>
        <p:sp>
          <p:nvSpPr>
            <p:cNvPr id="61" name="TextBox 60">
              <a:extLst>
                <a:ext uri="{FF2B5EF4-FFF2-40B4-BE49-F238E27FC236}">
                  <a16:creationId xmlns="" xmlns:a16="http://schemas.microsoft.com/office/drawing/2014/main" id="{A970332E-8F8F-466F-BEE8-603DD1557D02}"/>
                </a:ext>
              </a:extLst>
            </p:cNvPr>
            <p:cNvSpPr txBox="1"/>
            <p:nvPr/>
          </p:nvSpPr>
          <p:spPr>
            <a:xfrm>
              <a:off x="6210997" y="1630759"/>
              <a:ext cx="1457346" cy="985319"/>
            </a:xfrm>
            <a:prstGeom prst="rect">
              <a:avLst/>
            </a:prstGeom>
            <a:noFill/>
          </p:spPr>
          <p:txBody>
            <a:bodyPr wrap="square" rtlCol="0">
              <a:spAutoFit/>
            </a:bodyPr>
            <a:lstStyle/>
            <a:p>
              <a:r>
                <a:rPr lang="en-US" altLang="ko-KR" sz="1200" dirty="0" smtClean="0">
                  <a:solidFill>
                    <a:schemeClr val="tx1">
                      <a:lumMod val="65000"/>
                      <a:lumOff val="35000"/>
                    </a:schemeClr>
                  </a:solidFill>
                  <a:cs typeface="Arial" pitchFamily="34" charset="0"/>
                </a:rPr>
                <a:t>Worker productivity based on their shifts and idle time is identified</a:t>
              </a:r>
            </a:p>
            <a:p>
              <a:r>
                <a:rPr lang="en-US" altLang="ko-KR" sz="1200" dirty="0" smtClean="0">
                  <a:solidFill>
                    <a:schemeClr val="tx1">
                      <a:lumMod val="65000"/>
                      <a:lumOff val="35000"/>
                    </a:schemeClr>
                  </a:solidFill>
                  <a:cs typeface="Arial" pitchFamily="34" charset="0"/>
                </a:rPr>
                <a:t>       </a:t>
              </a:r>
              <a:endParaRPr lang="ko-KR" altLang="en-US" sz="1200" dirty="0">
                <a:solidFill>
                  <a:schemeClr val="tx1">
                    <a:lumMod val="65000"/>
                    <a:lumOff val="35000"/>
                  </a:schemeClr>
                </a:solidFill>
                <a:cs typeface="Arial" pitchFamily="34" charset="0"/>
              </a:endParaRPr>
            </a:p>
          </p:txBody>
        </p:sp>
      </p:grpSp>
      <p:sp>
        <p:nvSpPr>
          <p:cNvPr id="62" name="Oval 1">
            <a:extLst>
              <a:ext uri="{FF2B5EF4-FFF2-40B4-BE49-F238E27FC236}">
                <a16:creationId xmlns="" xmlns:a16="http://schemas.microsoft.com/office/drawing/2014/main" id="{B91023B6-D932-4038-AB92-CB42F5767EBE}"/>
              </a:ext>
            </a:extLst>
          </p:cNvPr>
          <p:cNvSpPr>
            <a:spLocks noChangeAspect="1"/>
          </p:cNvSpPr>
          <p:nvPr/>
        </p:nvSpPr>
        <p:spPr>
          <a:xfrm>
            <a:off x="9735403" y="3320696"/>
            <a:ext cx="388478" cy="451688"/>
          </a:xfrm>
          <a:custGeom>
            <a:avLst/>
            <a:gdLst/>
            <a:ahLst/>
            <a:cxnLst/>
            <a:rect l="l" t="t" r="r" b="b"/>
            <a:pathLst>
              <a:path w="3254409" h="3944462">
                <a:moveTo>
                  <a:pt x="1259449" y="3654708"/>
                </a:moveTo>
                <a:lnTo>
                  <a:pt x="2056275" y="3654708"/>
                </a:lnTo>
                <a:lnTo>
                  <a:pt x="2056275" y="3799585"/>
                </a:lnTo>
                <a:cubicBezTo>
                  <a:pt x="2056275" y="3879598"/>
                  <a:pt x="1877900" y="3944462"/>
                  <a:pt x="1657862" y="3944462"/>
                </a:cubicBezTo>
                <a:cubicBezTo>
                  <a:pt x="1437825" y="3944462"/>
                  <a:pt x="1259449" y="3879598"/>
                  <a:pt x="1259449" y="3799585"/>
                </a:cubicBezTo>
                <a:close/>
                <a:moveTo>
                  <a:pt x="1261196" y="3409579"/>
                </a:moveTo>
                <a:lnTo>
                  <a:pt x="2054529" y="3409579"/>
                </a:lnTo>
                <a:cubicBezTo>
                  <a:pt x="2095500" y="3409579"/>
                  <a:pt x="2128714" y="3442793"/>
                  <a:pt x="2128714" y="3483764"/>
                </a:cubicBezTo>
                <a:lnTo>
                  <a:pt x="2128714" y="3516511"/>
                </a:lnTo>
                <a:cubicBezTo>
                  <a:pt x="2128714" y="3557481"/>
                  <a:pt x="2095500" y="3590696"/>
                  <a:pt x="2054529" y="3590696"/>
                </a:cubicBezTo>
                <a:lnTo>
                  <a:pt x="1261196" y="3590696"/>
                </a:lnTo>
                <a:cubicBezTo>
                  <a:pt x="1220225" y="3590696"/>
                  <a:pt x="1187011" y="3557481"/>
                  <a:pt x="1187011" y="3516511"/>
                </a:cubicBezTo>
                <a:lnTo>
                  <a:pt x="1187011" y="3483764"/>
                </a:lnTo>
                <a:cubicBezTo>
                  <a:pt x="1187011" y="3442793"/>
                  <a:pt x="1220225" y="3409579"/>
                  <a:pt x="1261196" y="3409579"/>
                </a:cubicBezTo>
                <a:close/>
                <a:moveTo>
                  <a:pt x="1224976" y="3164451"/>
                </a:moveTo>
                <a:lnTo>
                  <a:pt x="2090747" y="3164451"/>
                </a:lnTo>
                <a:cubicBezTo>
                  <a:pt x="2131719" y="3164451"/>
                  <a:pt x="2164933" y="3197665"/>
                  <a:pt x="2164933" y="3238636"/>
                </a:cubicBezTo>
                <a:lnTo>
                  <a:pt x="2164933" y="3271382"/>
                </a:lnTo>
                <a:cubicBezTo>
                  <a:pt x="2164933" y="3312353"/>
                  <a:pt x="2131719" y="3345567"/>
                  <a:pt x="2090747" y="3345567"/>
                </a:cubicBezTo>
                <a:lnTo>
                  <a:pt x="1224976" y="3345567"/>
                </a:lnTo>
                <a:cubicBezTo>
                  <a:pt x="1184005" y="3345567"/>
                  <a:pt x="1150791" y="3312353"/>
                  <a:pt x="1150791" y="3271382"/>
                </a:cubicBezTo>
                <a:lnTo>
                  <a:pt x="1150791" y="3238636"/>
                </a:lnTo>
                <a:cubicBezTo>
                  <a:pt x="1150791" y="3197665"/>
                  <a:pt x="1184005" y="3164451"/>
                  <a:pt x="1224976" y="3164451"/>
                </a:cubicBezTo>
                <a:close/>
                <a:moveTo>
                  <a:pt x="1188757" y="2919322"/>
                </a:moveTo>
                <a:lnTo>
                  <a:pt x="2126967" y="2919322"/>
                </a:lnTo>
                <a:cubicBezTo>
                  <a:pt x="2167938" y="2919322"/>
                  <a:pt x="2201152" y="2952536"/>
                  <a:pt x="2201152" y="2993507"/>
                </a:cubicBezTo>
                <a:lnTo>
                  <a:pt x="2201152" y="3026254"/>
                </a:lnTo>
                <a:cubicBezTo>
                  <a:pt x="2201152" y="3067224"/>
                  <a:pt x="2167938" y="3100439"/>
                  <a:pt x="2126967" y="3100439"/>
                </a:cubicBezTo>
                <a:lnTo>
                  <a:pt x="1188757" y="3100439"/>
                </a:lnTo>
                <a:cubicBezTo>
                  <a:pt x="1147785" y="3100439"/>
                  <a:pt x="1114571" y="3067224"/>
                  <a:pt x="1114571" y="3026254"/>
                </a:cubicBezTo>
                <a:lnTo>
                  <a:pt x="1114571" y="2993507"/>
                </a:lnTo>
                <a:cubicBezTo>
                  <a:pt x="1114571" y="2952536"/>
                  <a:pt x="1147785" y="2919322"/>
                  <a:pt x="1188757" y="2919322"/>
                </a:cubicBezTo>
                <a:close/>
                <a:moveTo>
                  <a:pt x="1574533" y="1620510"/>
                </a:moveTo>
                <a:cubicBezTo>
                  <a:pt x="1552384" y="1644018"/>
                  <a:pt x="1521864" y="1658080"/>
                  <a:pt x="1488300" y="1658080"/>
                </a:cubicBezTo>
                <a:cubicBezTo>
                  <a:pt x="1460798" y="1658080"/>
                  <a:pt x="1435338" y="1648638"/>
                  <a:pt x="1416032" y="1630675"/>
                </a:cubicBezTo>
                <a:lnTo>
                  <a:pt x="1584647" y="2695264"/>
                </a:lnTo>
                <a:lnTo>
                  <a:pt x="1650915" y="2694732"/>
                </a:lnTo>
                <a:lnTo>
                  <a:pt x="1650915" y="2694695"/>
                </a:lnTo>
                <a:lnTo>
                  <a:pt x="1653298" y="2694714"/>
                </a:lnTo>
                <a:lnTo>
                  <a:pt x="1655679" y="2694695"/>
                </a:lnTo>
                <a:lnTo>
                  <a:pt x="1655679" y="2694732"/>
                </a:lnTo>
                <a:lnTo>
                  <a:pt x="1721162" y="2695258"/>
                </a:lnTo>
                <a:lnTo>
                  <a:pt x="1887727" y="1643609"/>
                </a:lnTo>
                <a:cubicBezTo>
                  <a:pt x="1871593" y="1653234"/>
                  <a:pt x="1852936" y="1658080"/>
                  <a:pt x="1833231" y="1658080"/>
                </a:cubicBezTo>
                <a:cubicBezTo>
                  <a:pt x="1799667" y="1658080"/>
                  <a:pt x="1769147" y="1644018"/>
                  <a:pt x="1746999" y="1620510"/>
                </a:cubicBezTo>
                <a:cubicBezTo>
                  <a:pt x="1724849" y="1644018"/>
                  <a:pt x="1694329" y="1658080"/>
                  <a:pt x="1660766" y="1658080"/>
                </a:cubicBezTo>
                <a:cubicBezTo>
                  <a:pt x="1627202" y="1658080"/>
                  <a:pt x="1596682" y="1644018"/>
                  <a:pt x="1574533" y="1620510"/>
                </a:cubicBezTo>
                <a:close/>
                <a:moveTo>
                  <a:pt x="3254409" y="1194373"/>
                </a:moveTo>
                <a:lnTo>
                  <a:pt x="3254409" y="1446373"/>
                </a:lnTo>
                <a:lnTo>
                  <a:pt x="2894409" y="1395973"/>
                </a:lnTo>
                <a:lnTo>
                  <a:pt x="2894409" y="1244773"/>
                </a:lnTo>
                <a:close/>
                <a:moveTo>
                  <a:pt x="0" y="1194373"/>
                </a:moveTo>
                <a:lnTo>
                  <a:pt x="360000" y="1244773"/>
                </a:lnTo>
                <a:lnTo>
                  <a:pt x="360000" y="1395973"/>
                </a:lnTo>
                <a:lnTo>
                  <a:pt x="0" y="1446373"/>
                </a:lnTo>
                <a:close/>
                <a:moveTo>
                  <a:pt x="1650915" y="686852"/>
                </a:moveTo>
                <a:cubicBezTo>
                  <a:pt x="1164505" y="687423"/>
                  <a:pt x="770387" y="1081929"/>
                  <a:pt x="770387" y="1568485"/>
                </a:cubicBezTo>
                <a:cubicBezTo>
                  <a:pt x="770387" y="1897865"/>
                  <a:pt x="1005466" y="2222947"/>
                  <a:pt x="1190556" y="2371462"/>
                </a:cubicBezTo>
                <a:cubicBezTo>
                  <a:pt x="1274950" y="2469103"/>
                  <a:pt x="1268259" y="2471104"/>
                  <a:pt x="1302554" y="2596072"/>
                </a:cubicBezTo>
                <a:cubicBezTo>
                  <a:pt x="1316217" y="2683697"/>
                  <a:pt x="1288538" y="2692455"/>
                  <a:pt x="1367056" y="2697010"/>
                </a:cubicBezTo>
                <a:lnTo>
                  <a:pt x="1424224" y="2696551"/>
                </a:lnTo>
                <a:lnTo>
                  <a:pt x="1231891" y="1482210"/>
                </a:lnTo>
                <a:cubicBezTo>
                  <a:pt x="1225156" y="1439688"/>
                  <a:pt x="1254167" y="1399758"/>
                  <a:pt x="1296689" y="1393023"/>
                </a:cubicBezTo>
                <a:lnTo>
                  <a:pt x="1299400" y="1392594"/>
                </a:lnTo>
                <a:cubicBezTo>
                  <a:pt x="1338047" y="1386473"/>
                  <a:pt x="1374553" y="1409880"/>
                  <a:pt x="1384555" y="1446557"/>
                </a:cubicBezTo>
                <a:cubicBezTo>
                  <a:pt x="1405249" y="1408365"/>
                  <a:pt x="1444141" y="1384022"/>
                  <a:pt x="1488300" y="1384022"/>
                </a:cubicBezTo>
                <a:cubicBezTo>
                  <a:pt x="1521864" y="1384022"/>
                  <a:pt x="1552384" y="1398085"/>
                  <a:pt x="1574533" y="1421593"/>
                </a:cubicBezTo>
                <a:cubicBezTo>
                  <a:pt x="1596682" y="1398085"/>
                  <a:pt x="1627202" y="1384022"/>
                  <a:pt x="1660766" y="1384022"/>
                </a:cubicBezTo>
                <a:cubicBezTo>
                  <a:pt x="1694329" y="1384022"/>
                  <a:pt x="1724849" y="1398085"/>
                  <a:pt x="1746999" y="1421593"/>
                </a:cubicBezTo>
                <a:cubicBezTo>
                  <a:pt x="1769147" y="1398085"/>
                  <a:pt x="1799667" y="1384022"/>
                  <a:pt x="1833231" y="1384022"/>
                </a:cubicBezTo>
                <a:cubicBezTo>
                  <a:pt x="1870523" y="1384022"/>
                  <a:pt x="1904060" y="1401383"/>
                  <a:pt x="1926459" y="1429718"/>
                </a:cubicBezTo>
                <a:cubicBezTo>
                  <a:pt x="1940429" y="1399945"/>
                  <a:pt x="1972972" y="1382212"/>
                  <a:pt x="2007193" y="1387633"/>
                </a:cubicBezTo>
                <a:lnTo>
                  <a:pt x="2009904" y="1388062"/>
                </a:lnTo>
                <a:cubicBezTo>
                  <a:pt x="2052427" y="1394797"/>
                  <a:pt x="2081437" y="1434727"/>
                  <a:pt x="2074703" y="1477248"/>
                </a:cubicBezTo>
                <a:lnTo>
                  <a:pt x="1881585" y="2696545"/>
                </a:lnTo>
                <a:lnTo>
                  <a:pt x="1939537" y="2697010"/>
                </a:lnTo>
                <a:cubicBezTo>
                  <a:pt x="2018055" y="2692455"/>
                  <a:pt x="1990377" y="2683697"/>
                  <a:pt x="2004039" y="2596072"/>
                </a:cubicBezTo>
                <a:cubicBezTo>
                  <a:pt x="2038334" y="2471104"/>
                  <a:pt x="2031644" y="2469103"/>
                  <a:pt x="2116037" y="2371462"/>
                </a:cubicBezTo>
                <a:cubicBezTo>
                  <a:pt x="2301127" y="2222947"/>
                  <a:pt x="2536206" y="1897865"/>
                  <a:pt x="2536206" y="1568485"/>
                </a:cubicBezTo>
                <a:cubicBezTo>
                  <a:pt x="2536206" y="1081929"/>
                  <a:pt x="2142089" y="687423"/>
                  <a:pt x="1655679" y="686852"/>
                </a:cubicBezTo>
                <a:lnTo>
                  <a:pt x="1655679" y="687071"/>
                </a:lnTo>
                <a:lnTo>
                  <a:pt x="1653298" y="686887"/>
                </a:lnTo>
                <a:lnTo>
                  <a:pt x="1650915" y="687071"/>
                </a:lnTo>
                <a:close/>
                <a:moveTo>
                  <a:pt x="1651270" y="468000"/>
                </a:moveTo>
                <a:lnTo>
                  <a:pt x="1653298" y="468156"/>
                </a:lnTo>
                <a:lnTo>
                  <a:pt x="1655324" y="468000"/>
                </a:lnTo>
                <a:cubicBezTo>
                  <a:pt x="2251596" y="468000"/>
                  <a:pt x="2734970" y="951374"/>
                  <a:pt x="2734970" y="1547647"/>
                </a:cubicBezTo>
                <a:cubicBezTo>
                  <a:pt x="2734970" y="1951147"/>
                  <a:pt x="2446871" y="2349377"/>
                  <a:pt x="2220195" y="2531148"/>
                </a:cubicBezTo>
                <a:cubicBezTo>
                  <a:pt x="2152664" y="2608950"/>
                  <a:pt x="2182466" y="2649832"/>
                  <a:pt x="2167955" y="2751256"/>
                </a:cubicBezTo>
                <a:cubicBezTo>
                  <a:pt x="2130228" y="2829553"/>
                  <a:pt x="2096483" y="2854590"/>
                  <a:pt x="2029795" y="2854590"/>
                </a:cubicBezTo>
                <a:lnTo>
                  <a:pt x="1653298" y="2853242"/>
                </a:lnTo>
                <a:lnTo>
                  <a:pt x="1276798" y="2854590"/>
                </a:lnTo>
                <a:cubicBezTo>
                  <a:pt x="1210112" y="2854590"/>
                  <a:pt x="1176366" y="2829553"/>
                  <a:pt x="1138638" y="2751256"/>
                </a:cubicBezTo>
                <a:cubicBezTo>
                  <a:pt x="1124127" y="2649832"/>
                  <a:pt x="1153930" y="2608950"/>
                  <a:pt x="1086399" y="2531148"/>
                </a:cubicBezTo>
                <a:cubicBezTo>
                  <a:pt x="859722" y="2349377"/>
                  <a:pt x="571623" y="1951147"/>
                  <a:pt x="571623" y="1547647"/>
                </a:cubicBezTo>
                <a:cubicBezTo>
                  <a:pt x="571623" y="951374"/>
                  <a:pt x="1054998" y="468000"/>
                  <a:pt x="1651270" y="468000"/>
                </a:cubicBezTo>
                <a:close/>
                <a:moveTo>
                  <a:pt x="2572549" y="249121"/>
                </a:moveTo>
                <a:lnTo>
                  <a:pt x="2765592" y="411103"/>
                </a:lnTo>
                <a:lnTo>
                  <a:pt x="2495580" y="654483"/>
                </a:lnTo>
                <a:lnTo>
                  <a:pt x="2379754" y="557293"/>
                </a:lnTo>
                <a:close/>
                <a:moveTo>
                  <a:pt x="663986" y="249121"/>
                </a:moveTo>
                <a:lnTo>
                  <a:pt x="856781" y="557293"/>
                </a:lnTo>
                <a:lnTo>
                  <a:pt x="740955" y="654483"/>
                </a:lnTo>
                <a:lnTo>
                  <a:pt x="470943" y="411103"/>
                </a:lnTo>
                <a:close/>
                <a:moveTo>
                  <a:pt x="1527296" y="0"/>
                </a:moveTo>
                <a:lnTo>
                  <a:pt x="1779296" y="0"/>
                </a:lnTo>
                <a:lnTo>
                  <a:pt x="1728896" y="360000"/>
                </a:lnTo>
                <a:lnTo>
                  <a:pt x="1577696" y="3600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3" name="Block Arc 32">
            <a:extLst>
              <a:ext uri="{FF2B5EF4-FFF2-40B4-BE49-F238E27FC236}">
                <a16:creationId xmlns="" xmlns:a16="http://schemas.microsoft.com/office/drawing/2014/main" id="{D2D28F29-A92C-410A-8C19-6A687C9F880E}"/>
              </a:ext>
            </a:extLst>
          </p:cNvPr>
          <p:cNvSpPr/>
          <p:nvPr/>
        </p:nvSpPr>
        <p:spPr>
          <a:xfrm rot="10800000">
            <a:off x="5075572" y="3423120"/>
            <a:ext cx="1496058" cy="1496058"/>
          </a:xfrm>
          <a:prstGeom prst="blockArc">
            <a:avLst>
              <a:gd name="adj1" fmla="val 10800000"/>
              <a:gd name="adj2" fmla="val 21403479"/>
              <a:gd name="adj3" fmla="val 36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4" name="Block Arc 32">
            <a:extLst>
              <a:ext uri="{FF2B5EF4-FFF2-40B4-BE49-F238E27FC236}">
                <a16:creationId xmlns="" xmlns:a16="http://schemas.microsoft.com/office/drawing/2014/main" id="{4398D2AA-4A3D-4485-AEF2-624E3F7439AB}"/>
              </a:ext>
            </a:extLst>
          </p:cNvPr>
          <p:cNvSpPr/>
          <p:nvPr/>
        </p:nvSpPr>
        <p:spPr>
          <a:xfrm rot="10800000">
            <a:off x="1717560" y="3423120"/>
            <a:ext cx="1496058" cy="1496058"/>
          </a:xfrm>
          <a:prstGeom prst="blockArc">
            <a:avLst>
              <a:gd name="adj1" fmla="val 10800000"/>
              <a:gd name="adj2" fmla="val 21403479"/>
              <a:gd name="adj3" fmla="val 368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5" name="Block Arc 32">
            <a:extLst>
              <a:ext uri="{FF2B5EF4-FFF2-40B4-BE49-F238E27FC236}">
                <a16:creationId xmlns="" xmlns:a16="http://schemas.microsoft.com/office/drawing/2014/main" id="{A9D2B40C-6EA9-4816-954E-8D4D59043C2A}"/>
              </a:ext>
            </a:extLst>
          </p:cNvPr>
          <p:cNvSpPr/>
          <p:nvPr/>
        </p:nvSpPr>
        <p:spPr>
          <a:xfrm>
            <a:off x="6754578" y="2109047"/>
            <a:ext cx="1496058" cy="1496058"/>
          </a:xfrm>
          <a:prstGeom prst="blockArc">
            <a:avLst>
              <a:gd name="adj1" fmla="val 10800000"/>
              <a:gd name="adj2" fmla="val 21403479"/>
              <a:gd name="adj3" fmla="val 368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6" name="Block Arc 32">
            <a:extLst>
              <a:ext uri="{FF2B5EF4-FFF2-40B4-BE49-F238E27FC236}">
                <a16:creationId xmlns="" xmlns:a16="http://schemas.microsoft.com/office/drawing/2014/main" id="{8E37BF5F-30E0-47B2-A0C1-971995FE029F}"/>
              </a:ext>
            </a:extLst>
          </p:cNvPr>
          <p:cNvSpPr/>
          <p:nvPr/>
        </p:nvSpPr>
        <p:spPr>
          <a:xfrm>
            <a:off x="3396566" y="2109047"/>
            <a:ext cx="1496058" cy="1496058"/>
          </a:xfrm>
          <a:prstGeom prst="blockArc">
            <a:avLst>
              <a:gd name="adj1" fmla="val 10800000"/>
              <a:gd name="adj2" fmla="val 21403479"/>
              <a:gd name="adj3" fmla="val 36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7" name="Rectangle 7">
            <a:extLst>
              <a:ext uri="{FF2B5EF4-FFF2-40B4-BE49-F238E27FC236}">
                <a16:creationId xmlns="" xmlns:a16="http://schemas.microsoft.com/office/drawing/2014/main" id="{4E6FACDF-7FE0-4C3C-9C36-4911C19AA619}"/>
              </a:ext>
            </a:extLst>
          </p:cNvPr>
          <p:cNvSpPr/>
          <p:nvPr/>
        </p:nvSpPr>
        <p:spPr>
          <a:xfrm>
            <a:off x="4540309" y="3251717"/>
            <a:ext cx="620167" cy="411350"/>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Tree>
    <p:extLst>
      <p:ext uri="{BB962C8B-B14F-4D97-AF65-F5344CB8AC3E}">
        <p14:creationId xmlns:p14="http://schemas.microsoft.com/office/powerpoint/2010/main" val="248739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3" grpId="0" animBg="1"/>
      <p:bldP spid="64" grpId="0" animBg="1"/>
      <p:bldP spid="65" grpId="0" animBg="1"/>
      <p:bldP spid="6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07988" y="404813"/>
            <a:ext cx="10944596" cy="433387"/>
          </a:xfrm>
        </p:spPr>
        <p:txBody>
          <a:bodyPr/>
          <a:lstStyle/>
          <a:p>
            <a:r>
              <a:rPr lang="en-US" dirty="0" smtClean="0"/>
              <a:t>Benefits</a:t>
            </a:r>
            <a:endParaRPr lang="en-US" dirty="0"/>
          </a:p>
        </p:txBody>
      </p:sp>
      <p:grpSp>
        <p:nvGrpSpPr>
          <p:cNvPr id="54" name="Group 53"/>
          <p:cNvGrpSpPr/>
          <p:nvPr/>
        </p:nvGrpSpPr>
        <p:grpSpPr>
          <a:xfrm>
            <a:off x="2192693" y="829908"/>
            <a:ext cx="5877851" cy="572512"/>
            <a:chOff x="205963" y="1259422"/>
            <a:chExt cx="5908655" cy="761963"/>
          </a:xfrm>
        </p:grpSpPr>
        <p:grpSp>
          <p:nvGrpSpPr>
            <p:cNvPr id="56" name="Group 55"/>
            <p:cNvGrpSpPr/>
            <p:nvPr/>
          </p:nvGrpSpPr>
          <p:grpSpPr>
            <a:xfrm>
              <a:off x="205963" y="1259422"/>
              <a:ext cx="5908655" cy="761963"/>
              <a:chOff x="205963" y="1259422"/>
              <a:chExt cx="5908655" cy="761963"/>
            </a:xfrm>
          </p:grpSpPr>
          <p:sp>
            <p:nvSpPr>
              <p:cNvPr id="58" name="Rounded Rectangle 57"/>
              <p:cNvSpPr/>
              <p:nvPr/>
            </p:nvSpPr>
            <p:spPr>
              <a:xfrm>
                <a:off x="344039" y="1259422"/>
                <a:ext cx="5770579" cy="761963"/>
              </a:xfrm>
              <a:prstGeom prst="roundRect">
                <a:avLst>
                  <a:gd name="adj" fmla="val 40104"/>
                </a:avLst>
              </a:prstGeom>
              <a:noFill/>
              <a:ln w="25400" cap="flat" cmpd="sng" algn="ctr">
                <a:gradFill flip="none" rotWithShape="1">
                  <a:gsLst>
                    <a:gs pos="0">
                      <a:srgbClr val="FF6600"/>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59" name="Oval 58"/>
              <p:cNvSpPr/>
              <p:nvPr/>
            </p:nvSpPr>
            <p:spPr>
              <a:xfrm>
                <a:off x="205963" y="1460468"/>
                <a:ext cx="377228" cy="373493"/>
              </a:xfrm>
              <a:prstGeom prst="ellipse">
                <a:avLst/>
              </a:prstGeom>
              <a:gradFill flip="none" rotWithShape="1">
                <a:gsLst>
                  <a:gs pos="75000">
                    <a:srgbClr val="FF6600"/>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57" name="Rectangle 56"/>
            <p:cNvSpPr/>
            <p:nvPr/>
          </p:nvSpPr>
          <p:spPr>
            <a:xfrm>
              <a:off x="605547" y="1460468"/>
              <a:ext cx="5312684" cy="3231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latin typeface="Calibri"/>
                </a:rPr>
                <a:t>Capturing the productivity of worker and efficiency of lines</a:t>
              </a:r>
            </a:p>
          </p:txBody>
        </p:sp>
      </p:grpSp>
      <p:sp>
        <p:nvSpPr>
          <p:cNvPr id="69" name="Rectangle 5"/>
          <p:cNvSpPr/>
          <p:nvPr/>
        </p:nvSpPr>
        <p:spPr>
          <a:xfrm rot="5400000">
            <a:off x="8161478" y="1263121"/>
            <a:ext cx="955489" cy="1368210"/>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362 w 2069164"/>
              <a:gd name="connsiteY0" fmla="*/ 3 h 2561350"/>
              <a:gd name="connsiteX1" fmla="*/ 1242675 w 2069164"/>
              <a:gd name="connsiteY1" fmla="*/ 286050 h 2561350"/>
              <a:gd name="connsiteX2" fmla="*/ 1220539 w 2069164"/>
              <a:gd name="connsiteY2" fmla="*/ 389002 h 2561350"/>
              <a:gd name="connsiteX3" fmla="*/ 1959393 w 2069164"/>
              <a:gd name="connsiteY3" fmla="*/ 361648 h 2561350"/>
              <a:gd name="connsiteX4" fmla="*/ 2067156 w 2069164"/>
              <a:gd name="connsiteY4" fmla="*/ 961234 h 2561350"/>
              <a:gd name="connsiteX5" fmla="*/ 1880648 w 2069164"/>
              <a:gd name="connsiteY5" fmla="*/ 1030865 h 2561350"/>
              <a:gd name="connsiteX6" fmla="*/ 1846973 w 2069164"/>
              <a:gd name="connsiteY6" fmla="*/ 1535481 h 2561350"/>
              <a:gd name="connsiteX7" fmla="*/ 2064670 w 2069164"/>
              <a:gd name="connsiteY7" fmla="*/ 1597847 h 2561350"/>
              <a:gd name="connsiteX8" fmla="*/ 1951933 w 2069164"/>
              <a:gd name="connsiteY8" fmla="*/ 2180265 h 2561350"/>
              <a:gd name="connsiteX9" fmla="*/ 1222802 w 2069164"/>
              <a:gd name="connsiteY9" fmla="*/ 2167002 h 2561350"/>
              <a:gd name="connsiteX10" fmla="*/ 1242675 w 2069164"/>
              <a:gd name="connsiteY10" fmla="*/ 2275300 h 2561350"/>
              <a:gd name="connsiteX11" fmla="*/ 792619 w 2069164"/>
              <a:gd name="connsiteY11" fmla="*/ 2277680 h 2561350"/>
              <a:gd name="connsiteX12" fmla="*/ 822552 w 2069164"/>
              <a:gd name="connsiteY12" fmla="*/ 2167002 h 2561350"/>
              <a:gd name="connsiteX13" fmla="*/ 129627 w 2069164"/>
              <a:gd name="connsiteY13" fmla="*/ 2200159 h 2561350"/>
              <a:gd name="connsiteX14" fmla="*/ 650 w 2069164"/>
              <a:gd name="connsiteY14" fmla="*/ 1657531 h 2561350"/>
              <a:gd name="connsiteX15" fmla="*/ 258083 w 2069164"/>
              <a:gd name="connsiteY15" fmla="*/ 1557347 h 2561350"/>
              <a:gd name="connsiteX16" fmla="*/ 270377 w 2069164"/>
              <a:gd name="connsiteY16" fmla="*/ 1028015 h 2561350"/>
              <a:gd name="connsiteX17" fmla="*/ 29715 w 2069164"/>
              <a:gd name="connsiteY17" fmla="*/ 1005469 h 2561350"/>
              <a:gd name="connsiteX18" fmla="*/ 109733 w 2069164"/>
              <a:gd name="connsiteY18" fmla="*/ 382371 h 2561350"/>
              <a:gd name="connsiteX19" fmla="*/ 827523 w 2069164"/>
              <a:gd name="connsiteY19" fmla="*/ 389002 h 2561350"/>
              <a:gd name="connsiteX20" fmla="*/ 792619 w 2069164"/>
              <a:gd name="connsiteY20" fmla="*/ 283670 h 2561350"/>
              <a:gd name="connsiteX21" fmla="*/ 1028362 w 206916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64020 w 2066875"/>
              <a:gd name="connsiteY7" fmla="*/ 1597847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952"/>
              <a:gd name="connsiteY0" fmla="*/ 3 h 2561350"/>
              <a:gd name="connsiteX1" fmla="*/ 1242025 w 2066952"/>
              <a:gd name="connsiteY1" fmla="*/ 286050 h 2561350"/>
              <a:gd name="connsiteX2" fmla="*/ 1219889 w 2066952"/>
              <a:gd name="connsiteY2" fmla="*/ 389002 h 2561350"/>
              <a:gd name="connsiteX3" fmla="*/ 1963063 w 2066952"/>
              <a:gd name="connsiteY3" fmla="*/ 357327 h 2561350"/>
              <a:gd name="connsiteX4" fmla="*/ 2066506 w 2066952"/>
              <a:gd name="connsiteY4" fmla="*/ 961234 h 2561350"/>
              <a:gd name="connsiteX5" fmla="*/ 1862717 w 2066952"/>
              <a:gd name="connsiteY5" fmla="*/ 1056790 h 2561350"/>
              <a:gd name="connsiteX6" fmla="*/ 1824721 w 2066952"/>
              <a:gd name="connsiteY6" fmla="*/ 1531159 h 2561350"/>
              <a:gd name="connsiteX7" fmla="*/ 2042416 w 2066952"/>
              <a:gd name="connsiteY7" fmla="*/ 1619452 h 2561350"/>
              <a:gd name="connsiteX8" fmla="*/ 1951283 w 2066952"/>
              <a:gd name="connsiteY8" fmla="*/ 2180265 h 2561350"/>
              <a:gd name="connsiteX9" fmla="*/ 1222152 w 2066952"/>
              <a:gd name="connsiteY9" fmla="*/ 2167002 h 2561350"/>
              <a:gd name="connsiteX10" fmla="*/ 1242025 w 2066952"/>
              <a:gd name="connsiteY10" fmla="*/ 2275300 h 2561350"/>
              <a:gd name="connsiteX11" fmla="*/ 791969 w 2066952"/>
              <a:gd name="connsiteY11" fmla="*/ 2277680 h 2561350"/>
              <a:gd name="connsiteX12" fmla="*/ 821902 w 2066952"/>
              <a:gd name="connsiteY12" fmla="*/ 2167002 h 2561350"/>
              <a:gd name="connsiteX13" fmla="*/ 128977 w 2066952"/>
              <a:gd name="connsiteY13" fmla="*/ 2200159 h 2561350"/>
              <a:gd name="connsiteX14" fmla="*/ 0 w 2066952"/>
              <a:gd name="connsiteY14" fmla="*/ 1657531 h 2561350"/>
              <a:gd name="connsiteX15" fmla="*/ 257433 w 2066952"/>
              <a:gd name="connsiteY15" fmla="*/ 1557347 h 2561350"/>
              <a:gd name="connsiteX16" fmla="*/ 239483 w 2066952"/>
              <a:gd name="connsiteY16" fmla="*/ 1049619 h 2561350"/>
              <a:gd name="connsiteX17" fmla="*/ 29065 w 2066952"/>
              <a:gd name="connsiteY17" fmla="*/ 1005469 h 2561350"/>
              <a:gd name="connsiteX18" fmla="*/ 100444 w 2066952"/>
              <a:gd name="connsiteY18" fmla="*/ 369408 h 2561350"/>
              <a:gd name="connsiteX19" fmla="*/ 826873 w 2066952"/>
              <a:gd name="connsiteY19" fmla="*/ 389002 h 2561350"/>
              <a:gd name="connsiteX20" fmla="*/ 791969 w 2066952"/>
              <a:gd name="connsiteY20" fmla="*/ 283670 h 2561350"/>
              <a:gd name="connsiteX21" fmla="*/ 1027712 w 2066952"/>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6650"/>
              <a:gd name="connsiteY0" fmla="*/ 3 h 2561350"/>
              <a:gd name="connsiteX1" fmla="*/ 1242025 w 2066650"/>
              <a:gd name="connsiteY1" fmla="*/ 286050 h 2561350"/>
              <a:gd name="connsiteX2" fmla="*/ 1219889 w 2066650"/>
              <a:gd name="connsiteY2" fmla="*/ 389002 h 2561350"/>
              <a:gd name="connsiteX3" fmla="*/ 1967384 w 2066650"/>
              <a:gd name="connsiteY3" fmla="*/ 344364 h 2561350"/>
              <a:gd name="connsiteX4" fmla="*/ 2066506 w 2066650"/>
              <a:gd name="connsiteY4" fmla="*/ 961234 h 2561350"/>
              <a:gd name="connsiteX5" fmla="*/ 1862717 w 2066650"/>
              <a:gd name="connsiteY5" fmla="*/ 1056790 h 2561350"/>
              <a:gd name="connsiteX6" fmla="*/ 1824721 w 2066650"/>
              <a:gd name="connsiteY6" fmla="*/ 1531159 h 2561350"/>
              <a:gd name="connsiteX7" fmla="*/ 2042416 w 2066650"/>
              <a:gd name="connsiteY7" fmla="*/ 1619452 h 2561350"/>
              <a:gd name="connsiteX8" fmla="*/ 1951283 w 2066650"/>
              <a:gd name="connsiteY8" fmla="*/ 2180265 h 2561350"/>
              <a:gd name="connsiteX9" fmla="*/ 1222152 w 2066650"/>
              <a:gd name="connsiteY9" fmla="*/ 2167002 h 2561350"/>
              <a:gd name="connsiteX10" fmla="*/ 1242025 w 2066650"/>
              <a:gd name="connsiteY10" fmla="*/ 2275300 h 2561350"/>
              <a:gd name="connsiteX11" fmla="*/ 791969 w 2066650"/>
              <a:gd name="connsiteY11" fmla="*/ 2277680 h 2561350"/>
              <a:gd name="connsiteX12" fmla="*/ 821902 w 2066650"/>
              <a:gd name="connsiteY12" fmla="*/ 2167002 h 2561350"/>
              <a:gd name="connsiteX13" fmla="*/ 128977 w 2066650"/>
              <a:gd name="connsiteY13" fmla="*/ 2200159 h 2561350"/>
              <a:gd name="connsiteX14" fmla="*/ 0 w 2066650"/>
              <a:gd name="connsiteY14" fmla="*/ 1657531 h 2561350"/>
              <a:gd name="connsiteX15" fmla="*/ 257433 w 2066650"/>
              <a:gd name="connsiteY15" fmla="*/ 1557347 h 2561350"/>
              <a:gd name="connsiteX16" fmla="*/ 239483 w 2066650"/>
              <a:gd name="connsiteY16" fmla="*/ 1049619 h 2561350"/>
              <a:gd name="connsiteX17" fmla="*/ 29065 w 2066650"/>
              <a:gd name="connsiteY17" fmla="*/ 1005469 h 2561350"/>
              <a:gd name="connsiteX18" fmla="*/ 100444 w 2066650"/>
              <a:gd name="connsiteY18" fmla="*/ 369408 h 2561350"/>
              <a:gd name="connsiteX19" fmla="*/ 826873 w 2066650"/>
              <a:gd name="connsiteY19" fmla="*/ 389002 h 2561350"/>
              <a:gd name="connsiteX20" fmla="*/ 791969 w 2066650"/>
              <a:gd name="connsiteY20" fmla="*/ 283670 h 2561350"/>
              <a:gd name="connsiteX21" fmla="*/ 1027712 w 2066650"/>
              <a:gd name="connsiteY21" fmla="*/ 3 h 2561350"/>
              <a:gd name="connsiteX0" fmla="*/ 1027712 w 2049409"/>
              <a:gd name="connsiteY0" fmla="*/ 3 h 2561350"/>
              <a:gd name="connsiteX1" fmla="*/ 1242025 w 2049409"/>
              <a:gd name="connsiteY1" fmla="*/ 286050 h 2561350"/>
              <a:gd name="connsiteX2" fmla="*/ 1219889 w 2049409"/>
              <a:gd name="connsiteY2" fmla="*/ 389002 h 2561350"/>
              <a:gd name="connsiteX3" fmla="*/ 1967384 w 2049409"/>
              <a:gd name="connsiteY3" fmla="*/ 344364 h 2561350"/>
              <a:gd name="connsiteX4" fmla="*/ 2049225 w 2049409"/>
              <a:gd name="connsiteY4" fmla="*/ 926667 h 2561350"/>
              <a:gd name="connsiteX5" fmla="*/ 1862717 w 2049409"/>
              <a:gd name="connsiteY5" fmla="*/ 1056790 h 2561350"/>
              <a:gd name="connsiteX6" fmla="*/ 1824721 w 2049409"/>
              <a:gd name="connsiteY6" fmla="*/ 1531159 h 2561350"/>
              <a:gd name="connsiteX7" fmla="*/ 2042416 w 2049409"/>
              <a:gd name="connsiteY7" fmla="*/ 1619452 h 2561350"/>
              <a:gd name="connsiteX8" fmla="*/ 1951283 w 2049409"/>
              <a:gd name="connsiteY8" fmla="*/ 2180265 h 2561350"/>
              <a:gd name="connsiteX9" fmla="*/ 1222152 w 2049409"/>
              <a:gd name="connsiteY9" fmla="*/ 2167002 h 2561350"/>
              <a:gd name="connsiteX10" fmla="*/ 1242025 w 2049409"/>
              <a:gd name="connsiteY10" fmla="*/ 2275300 h 2561350"/>
              <a:gd name="connsiteX11" fmla="*/ 791969 w 2049409"/>
              <a:gd name="connsiteY11" fmla="*/ 2277680 h 2561350"/>
              <a:gd name="connsiteX12" fmla="*/ 821902 w 2049409"/>
              <a:gd name="connsiteY12" fmla="*/ 2167002 h 2561350"/>
              <a:gd name="connsiteX13" fmla="*/ 128977 w 2049409"/>
              <a:gd name="connsiteY13" fmla="*/ 2200159 h 2561350"/>
              <a:gd name="connsiteX14" fmla="*/ 0 w 2049409"/>
              <a:gd name="connsiteY14" fmla="*/ 1657531 h 2561350"/>
              <a:gd name="connsiteX15" fmla="*/ 257433 w 2049409"/>
              <a:gd name="connsiteY15" fmla="*/ 1557347 h 2561350"/>
              <a:gd name="connsiteX16" fmla="*/ 239483 w 2049409"/>
              <a:gd name="connsiteY16" fmla="*/ 1049619 h 2561350"/>
              <a:gd name="connsiteX17" fmla="*/ 29065 w 2049409"/>
              <a:gd name="connsiteY17" fmla="*/ 1005469 h 2561350"/>
              <a:gd name="connsiteX18" fmla="*/ 100444 w 2049409"/>
              <a:gd name="connsiteY18" fmla="*/ 369408 h 2561350"/>
              <a:gd name="connsiteX19" fmla="*/ 826873 w 2049409"/>
              <a:gd name="connsiteY19" fmla="*/ 389002 h 2561350"/>
              <a:gd name="connsiteX20" fmla="*/ 791969 w 2049409"/>
              <a:gd name="connsiteY20" fmla="*/ 283670 h 2561350"/>
              <a:gd name="connsiteX21" fmla="*/ 1027712 w 2049409"/>
              <a:gd name="connsiteY21" fmla="*/ 3 h 2561350"/>
              <a:gd name="connsiteX0" fmla="*/ 1027712 w 2049338"/>
              <a:gd name="connsiteY0" fmla="*/ 3 h 2561350"/>
              <a:gd name="connsiteX1" fmla="*/ 1242025 w 2049338"/>
              <a:gd name="connsiteY1" fmla="*/ 286050 h 2561350"/>
              <a:gd name="connsiteX2" fmla="*/ 1219889 w 2049338"/>
              <a:gd name="connsiteY2" fmla="*/ 389002 h 2561350"/>
              <a:gd name="connsiteX3" fmla="*/ 1967384 w 2049338"/>
              <a:gd name="connsiteY3" fmla="*/ 344364 h 2561350"/>
              <a:gd name="connsiteX4" fmla="*/ 2049225 w 2049338"/>
              <a:gd name="connsiteY4" fmla="*/ 926667 h 2561350"/>
              <a:gd name="connsiteX5" fmla="*/ 1862717 w 2049338"/>
              <a:gd name="connsiteY5" fmla="*/ 1056790 h 2561350"/>
              <a:gd name="connsiteX6" fmla="*/ 1824721 w 2049338"/>
              <a:gd name="connsiteY6" fmla="*/ 1531159 h 2561350"/>
              <a:gd name="connsiteX7" fmla="*/ 2042416 w 2049338"/>
              <a:gd name="connsiteY7" fmla="*/ 1619452 h 2561350"/>
              <a:gd name="connsiteX8" fmla="*/ 1951283 w 2049338"/>
              <a:gd name="connsiteY8" fmla="*/ 2180265 h 2561350"/>
              <a:gd name="connsiteX9" fmla="*/ 1222152 w 2049338"/>
              <a:gd name="connsiteY9" fmla="*/ 2167002 h 2561350"/>
              <a:gd name="connsiteX10" fmla="*/ 1242025 w 2049338"/>
              <a:gd name="connsiteY10" fmla="*/ 2275300 h 2561350"/>
              <a:gd name="connsiteX11" fmla="*/ 791969 w 2049338"/>
              <a:gd name="connsiteY11" fmla="*/ 2277680 h 2561350"/>
              <a:gd name="connsiteX12" fmla="*/ 821902 w 2049338"/>
              <a:gd name="connsiteY12" fmla="*/ 2167002 h 2561350"/>
              <a:gd name="connsiteX13" fmla="*/ 128977 w 2049338"/>
              <a:gd name="connsiteY13" fmla="*/ 2200159 h 2561350"/>
              <a:gd name="connsiteX14" fmla="*/ 0 w 2049338"/>
              <a:gd name="connsiteY14" fmla="*/ 1657531 h 2561350"/>
              <a:gd name="connsiteX15" fmla="*/ 257433 w 2049338"/>
              <a:gd name="connsiteY15" fmla="*/ 1557347 h 2561350"/>
              <a:gd name="connsiteX16" fmla="*/ 239483 w 2049338"/>
              <a:gd name="connsiteY16" fmla="*/ 1049619 h 2561350"/>
              <a:gd name="connsiteX17" fmla="*/ 29065 w 2049338"/>
              <a:gd name="connsiteY17" fmla="*/ 1005469 h 2561350"/>
              <a:gd name="connsiteX18" fmla="*/ 100444 w 2049338"/>
              <a:gd name="connsiteY18" fmla="*/ 369408 h 2561350"/>
              <a:gd name="connsiteX19" fmla="*/ 826873 w 2049338"/>
              <a:gd name="connsiteY19" fmla="*/ 389002 h 2561350"/>
              <a:gd name="connsiteX20" fmla="*/ 791969 w 2049338"/>
              <a:gd name="connsiteY20" fmla="*/ 283670 h 2561350"/>
              <a:gd name="connsiteX21" fmla="*/ 1027712 w 2049338"/>
              <a:gd name="connsiteY21" fmla="*/ 3 h 2561350"/>
              <a:gd name="connsiteX0" fmla="*/ 1027712 w 2053522"/>
              <a:gd name="connsiteY0" fmla="*/ 3 h 2561350"/>
              <a:gd name="connsiteX1" fmla="*/ 1242025 w 2053522"/>
              <a:gd name="connsiteY1" fmla="*/ 286050 h 2561350"/>
              <a:gd name="connsiteX2" fmla="*/ 1219889 w 2053522"/>
              <a:gd name="connsiteY2" fmla="*/ 389002 h 2561350"/>
              <a:gd name="connsiteX3" fmla="*/ 1967384 w 2053522"/>
              <a:gd name="connsiteY3" fmla="*/ 344364 h 2561350"/>
              <a:gd name="connsiteX4" fmla="*/ 2049225 w 2053522"/>
              <a:gd name="connsiteY4" fmla="*/ 926667 h 2561350"/>
              <a:gd name="connsiteX5" fmla="*/ 1862717 w 2053522"/>
              <a:gd name="connsiteY5" fmla="*/ 1056790 h 2561350"/>
              <a:gd name="connsiteX6" fmla="*/ 1824721 w 2053522"/>
              <a:gd name="connsiteY6" fmla="*/ 1531159 h 2561350"/>
              <a:gd name="connsiteX7" fmla="*/ 2042416 w 2053522"/>
              <a:gd name="connsiteY7" fmla="*/ 1619452 h 2561350"/>
              <a:gd name="connsiteX8" fmla="*/ 1951283 w 2053522"/>
              <a:gd name="connsiteY8" fmla="*/ 2180265 h 2561350"/>
              <a:gd name="connsiteX9" fmla="*/ 1222152 w 2053522"/>
              <a:gd name="connsiteY9" fmla="*/ 2167002 h 2561350"/>
              <a:gd name="connsiteX10" fmla="*/ 1242025 w 2053522"/>
              <a:gd name="connsiteY10" fmla="*/ 2275300 h 2561350"/>
              <a:gd name="connsiteX11" fmla="*/ 791969 w 2053522"/>
              <a:gd name="connsiteY11" fmla="*/ 2277680 h 2561350"/>
              <a:gd name="connsiteX12" fmla="*/ 821902 w 2053522"/>
              <a:gd name="connsiteY12" fmla="*/ 2167002 h 2561350"/>
              <a:gd name="connsiteX13" fmla="*/ 128977 w 2053522"/>
              <a:gd name="connsiteY13" fmla="*/ 2200159 h 2561350"/>
              <a:gd name="connsiteX14" fmla="*/ 0 w 2053522"/>
              <a:gd name="connsiteY14" fmla="*/ 1657531 h 2561350"/>
              <a:gd name="connsiteX15" fmla="*/ 257433 w 2053522"/>
              <a:gd name="connsiteY15" fmla="*/ 1557347 h 2561350"/>
              <a:gd name="connsiteX16" fmla="*/ 239483 w 2053522"/>
              <a:gd name="connsiteY16" fmla="*/ 1049619 h 2561350"/>
              <a:gd name="connsiteX17" fmla="*/ 29065 w 2053522"/>
              <a:gd name="connsiteY17" fmla="*/ 1005469 h 2561350"/>
              <a:gd name="connsiteX18" fmla="*/ 100444 w 2053522"/>
              <a:gd name="connsiteY18" fmla="*/ 369408 h 2561350"/>
              <a:gd name="connsiteX19" fmla="*/ 826873 w 2053522"/>
              <a:gd name="connsiteY19" fmla="*/ 389002 h 2561350"/>
              <a:gd name="connsiteX20" fmla="*/ 791969 w 2053522"/>
              <a:gd name="connsiteY20" fmla="*/ 283670 h 2561350"/>
              <a:gd name="connsiteX21" fmla="*/ 1027712 w 2053522"/>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6166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60129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0556" h="2561350">
                <a:moveTo>
                  <a:pt x="1014747" y="3"/>
                </a:moveTo>
                <a:cubicBezTo>
                  <a:pt x="1183816" y="-691"/>
                  <a:pt x="1351799" y="120921"/>
                  <a:pt x="1229060" y="286050"/>
                </a:cubicBezTo>
                <a:cubicBezTo>
                  <a:pt x="1212950" y="315682"/>
                  <a:pt x="1201168" y="348101"/>
                  <a:pt x="1206924" y="389002"/>
                </a:cubicBezTo>
                <a:cubicBezTo>
                  <a:pt x="1211992" y="528261"/>
                  <a:pt x="1716654" y="452477"/>
                  <a:pt x="1954419" y="344364"/>
                </a:cubicBezTo>
                <a:cubicBezTo>
                  <a:pt x="1970498" y="474789"/>
                  <a:pt x="2061145" y="783619"/>
                  <a:pt x="2036260" y="926667"/>
                </a:cubicBezTo>
                <a:cubicBezTo>
                  <a:pt x="2027166" y="1024060"/>
                  <a:pt x="1970476" y="1153289"/>
                  <a:pt x="1849752" y="1060129"/>
                </a:cubicBezTo>
                <a:cubicBezTo>
                  <a:pt x="1475468" y="853624"/>
                  <a:pt x="1487545" y="1649324"/>
                  <a:pt x="1811756" y="1531159"/>
                </a:cubicBezTo>
                <a:cubicBezTo>
                  <a:pt x="1923754" y="1469515"/>
                  <a:pt x="1987209" y="1400411"/>
                  <a:pt x="2036129" y="1616113"/>
                </a:cubicBezTo>
                <a:cubicBezTo>
                  <a:pt x="2051136" y="1730790"/>
                  <a:pt x="1956393" y="2051666"/>
                  <a:pt x="1938318" y="2180265"/>
                </a:cubicBezTo>
                <a:cubicBezTo>
                  <a:pt x="1741694" y="2153739"/>
                  <a:pt x="1359392" y="2007849"/>
                  <a:pt x="1209187" y="2167002"/>
                </a:cubicBezTo>
                <a:cubicBezTo>
                  <a:pt x="1195706" y="2193452"/>
                  <a:pt x="1198508" y="2230274"/>
                  <a:pt x="1229060" y="2275300"/>
                </a:cubicBezTo>
                <a:cubicBezTo>
                  <a:pt x="1469566" y="2660267"/>
                  <a:pt x="567071" y="2652331"/>
                  <a:pt x="779004" y="2277680"/>
                </a:cubicBezTo>
                <a:cubicBezTo>
                  <a:pt x="817979" y="2223379"/>
                  <a:pt x="825787" y="2190096"/>
                  <a:pt x="808937" y="2167002"/>
                </a:cubicBezTo>
                <a:cubicBezTo>
                  <a:pt x="706169" y="2021111"/>
                  <a:pt x="364670" y="2147108"/>
                  <a:pt x="116012" y="2200159"/>
                </a:cubicBezTo>
                <a:cubicBezTo>
                  <a:pt x="57942" y="2073996"/>
                  <a:pt x="976" y="1794778"/>
                  <a:pt x="0" y="1657530"/>
                </a:cubicBezTo>
                <a:cubicBezTo>
                  <a:pt x="23569" y="1399547"/>
                  <a:pt x="142648" y="1475748"/>
                  <a:pt x="248790" y="1539671"/>
                </a:cubicBezTo>
                <a:cubicBezTo>
                  <a:pt x="563771" y="1555589"/>
                  <a:pt x="485163" y="925406"/>
                  <a:pt x="226518" y="1049619"/>
                </a:cubicBezTo>
                <a:cubicBezTo>
                  <a:pt x="150003" y="1086365"/>
                  <a:pt x="56561" y="1164379"/>
                  <a:pt x="16100" y="1005469"/>
                </a:cubicBezTo>
                <a:cubicBezTo>
                  <a:pt x="-32993" y="864734"/>
                  <a:pt x="47286" y="478570"/>
                  <a:pt x="87479" y="369408"/>
                </a:cubicBezTo>
                <a:cubicBezTo>
                  <a:pt x="483685" y="502036"/>
                  <a:pt x="775797" y="488473"/>
                  <a:pt x="813908" y="389002"/>
                </a:cubicBezTo>
                <a:cubicBezTo>
                  <a:pt x="824229" y="365427"/>
                  <a:pt x="814657" y="333342"/>
                  <a:pt x="779004" y="283670"/>
                </a:cubicBezTo>
                <a:cubicBezTo>
                  <a:pt x="673038" y="96344"/>
                  <a:pt x="845678" y="698"/>
                  <a:pt x="1014747" y="3"/>
                </a:cubicBezTo>
                <a:close/>
              </a:path>
            </a:pathLst>
          </a:custGeom>
          <a:gradFill flip="none" rotWithShape="1">
            <a:gsLst>
              <a:gs pos="100000">
                <a:srgbClr val="669900">
                  <a:lumMod val="75000"/>
                </a:srgbClr>
              </a:gs>
              <a:gs pos="0">
                <a:srgbClr val="669900"/>
              </a:gs>
            </a:gsLst>
            <a:lin ang="0" scaled="0"/>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2" name="Rectangle 5"/>
          <p:cNvSpPr/>
          <p:nvPr/>
        </p:nvSpPr>
        <p:spPr>
          <a:xfrm flipV="1">
            <a:off x="8094000" y="3906052"/>
            <a:ext cx="1105511" cy="1199348"/>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564" h="2561350">
                <a:moveTo>
                  <a:pt x="1028762" y="3"/>
                </a:moveTo>
                <a:cubicBezTo>
                  <a:pt x="1197831" y="-691"/>
                  <a:pt x="1365814" y="120921"/>
                  <a:pt x="1243075" y="286050"/>
                </a:cubicBezTo>
                <a:cubicBezTo>
                  <a:pt x="1226965" y="315682"/>
                  <a:pt x="1215183" y="348101"/>
                  <a:pt x="1220939" y="389002"/>
                </a:cubicBezTo>
                <a:cubicBezTo>
                  <a:pt x="1226007" y="528261"/>
                  <a:pt x="1696102" y="461119"/>
                  <a:pt x="1959793" y="361648"/>
                </a:cubicBezTo>
                <a:cubicBezTo>
                  <a:pt x="2053648" y="496394"/>
                  <a:pt x="2070837" y="822506"/>
                  <a:pt x="2067556" y="961234"/>
                </a:cubicBezTo>
                <a:cubicBezTo>
                  <a:pt x="2071425" y="1080232"/>
                  <a:pt x="2014728" y="1106744"/>
                  <a:pt x="1881048" y="1030865"/>
                </a:cubicBezTo>
                <a:cubicBezTo>
                  <a:pt x="1483772" y="845572"/>
                  <a:pt x="1585020" y="1699608"/>
                  <a:pt x="1847373" y="1535481"/>
                </a:cubicBezTo>
                <a:cubicBezTo>
                  <a:pt x="1929125" y="1495441"/>
                  <a:pt x="2055039" y="1373504"/>
                  <a:pt x="2065070" y="1597847"/>
                </a:cubicBezTo>
                <a:cubicBezTo>
                  <a:pt x="2080077" y="1677957"/>
                  <a:pt x="2061145" y="2086235"/>
                  <a:pt x="1952333" y="2180265"/>
                </a:cubicBezTo>
                <a:cubicBezTo>
                  <a:pt x="1755709" y="2153739"/>
                  <a:pt x="1373407" y="2007849"/>
                  <a:pt x="1223202" y="2167002"/>
                </a:cubicBezTo>
                <a:cubicBezTo>
                  <a:pt x="1209721" y="2193452"/>
                  <a:pt x="1212523" y="2230274"/>
                  <a:pt x="1243075" y="2275300"/>
                </a:cubicBezTo>
                <a:cubicBezTo>
                  <a:pt x="1483581" y="2660267"/>
                  <a:pt x="581086" y="2652331"/>
                  <a:pt x="793019" y="2277680"/>
                </a:cubicBezTo>
                <a:cubicBezTo>
                  <a:pt x="831994" y="2223379"/>
                  <a:pt x="839802" y="2190096"/>
                  <a:pt x="822952" y="2167002"/>
                </a:cubicBezTo>
                <a:cubicBezTo>
                  <a:pt x="720184" y="2021111"/>
                  <a:pt x="378685" y="2147108"/>
                  <a:pt x="130027" y="2200159"/>
                </a:cubicBezTo>
                <a:cubicBezTo>
                  <a:pt x="37391" y="2130168"/>
                  <a:pt x="-7600" y="1771407"/>
                  <a:pt x="1050" y="1657531"/>
                </a:cubicBezTo>
                <a:cubicBezTo>
                  <a:pt x="24620" y="1416831"/>
                  <a:pt x="117773" y="1502066"/>
                  <a:pt x="271446" y="1561668"/>
                </a:cubicBezTo>
                <a:cubicBezTo>
                  <a:pt x="483628" y="1635999"/>
                  <a:pt x="591036" y="1022800"/>
                  <a:pt x="249172" y="1045298"/>
                </a:cubicBezTo>
                <a:cubicBezTo>
                  <a:pt x="168463" y="1050498"/>
                  <a:pt x="31683" y="1183628"/>
                  <a:pt x="8510" y="1018431"/>
                </a:cubicBezTo>
                <a:cubicBezTo>
                  <a:pt x="-14663" y="907943"/>
                  <a:pt x="13766" y="478572"/>
                  <a:pt x="110133" y="382371"/>
                </a:cubicBezTo>
                <a:cubicBezTo>
                  <a:pt x="506339" y="514999"/>
                  <a:pt x="789812" y="488473"/>
                  <a:pt x="827923" y="389002"/>
                </a:cubicBezTo>
                <a:cubicBezTo>
                  <a:pt x="838244" y="365427"/>
                  <a:pt x="828672" y="333342"/>
                  <a:pt x="793019" y="283670"/>
                </a:cubicBezTo>
                <a:cubicBezTo>
                  <a:pt x="687053" y="96344"/>
                  <a:pt x="859693" y="698"/>
                  <a:pt x="1028762" y="3"/>
                </a:cubicBezTo>
                <a:close/>
              </a:path>
            </a:pathLst>
          </a:custGeom>
          <a:gradFill flip="none" rotWithShape="1">
            <a:gsLst>
              <a:gs pos="0">
                <a:srgbClr val="7B57A8">
                  <a:lumMod val="50000"/>
                </a:srgbClr>
              </a:gs>
              <a:gs pos="100000">
                <a:srgbClr val="7B57A8"/>
              </a:gs>
            </a:gsLst>
            <a:lin ang="54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1" name="Rectangle 5"/>
          <p:cNvSpPr/>
          <p:nvPr/>
        </p:nvSpPr>
        <p:spPr>
          <a:xfrm rot="5400000">
            <a:off x="8169012" y="2944255"/>
            <a:ext cx="955489" cy="1368210"/>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362 w 2069164"/>
              <a:gd name="connsiteY0" fmla="*/ 3 h 2561350"/>
              <a:gd name="connsiteX1" fmla="*/ 1242675 w 2069164"/>
              <a:gd name="connsiteY1" fmla="*/ 286050 h 2561350"/>
              <a:gd name="connsiteX2" fmla="*/ 1220539 w 2069164"/>
              <a:gd name="connsiteY2" fmla="*/ 389002 h 2561350"/>
              <a:gd name="connsiteX3" fmla="*/ 1959393 w 2069164"/>
              <a:gd name="connsiteY3" fmla="*/ 361648 h 2561350"/>
              <a:gd name="connsiteX4" fmla="*/ 2067156 w 2069164"/>
              <a:gd name="connsiteY4" fmla="*/ 961234 h 2561350"/>
              <a:gd name="connsiteX5" fmla="*/ 1880648 w 2069164"/>
              <a:gd name="connsiteY5" fmla="*/ 1030865 h 2561350"/>
              <a:gd name="connsiteX6" fmla="*/ 1846973 w 2069164"/>
              <a:gd name="connsiteY6" fmla="*/ 1535481 h 2561350"/>
              <a:gd name="connsiteX7" fmla="*/ 2064670 w 2069164"/>
              <a:gd name="connsiteY7" fmla="*/ 1597847 h 2561350"/>
              <a:gd name="connsiteX8" fmla="*/ 1951933 w 2069164"/>
              <a:gd name="connsiteY8" fmla="*/ 2180265 h 2561350"/>
              <a:gd name="connsiteX9" fmla="*/ 1222802 w 2069164"/>
              <a:gd name="connsiteY9" fmla="*/ 2167002 h 2561350"/>
              <a:gd name="connsiteX10" fmla="*/ 1242675 w 2069164"/>
              <a:gd name="connsiteY10" fmla="*/ 2275300 h 2561350"/>
              <a:gd name="connsiteX11" fmla="*/ 792619 w 2069164"/>
              <a:gd name="connsiteY11" fmla="*/ 2277680 h 2561350"/>
              <a:gd name="connsiteX12" fmla="*/ 822552 w 2069164"/>
              <a:gd name="connsiteY12" fmla="*/ 2167002 h 2561350"/>
              <a:gd name="connsiteX13" fmla="*/ 129627 w 2069164"/>
              <a:gd name="connsiteY13" fmla="*/ 2200159 h 2561350"/>
              <a:gd name="connsiteX14" fmla="*/ 650 w 2069164"/>
              <a:gd name="connsiteY14" fmla="*/ 1657531 h 2561350"/>
              <a:gd name="connsiteX15" fmla="*/ 258083 w 2069164"/>
              <a:gd name="connsiteY15" fmla="*/ 1557347 h 2561350"/>
              <a:gd name="connsiteX16" fmla="*/ 270377 w 2069164"/>
              <a:gd name="connsiteY16" fmla="*/ 1028015 h 2561350"/>
              <a:gd name="connsiteX17" fmla="*/ 29715 w 2069164"/>
              <a:gd name="connsiteY17" fmla="*/ 1005469 h 2561350"/>
              <a:gd name="connsiteX18" fmla="*/ 109733 w 2069164"/>
              <a:gd name="connsiteY18" fmla="*/ 382371 h 2561350"/>
              <a:gd name="connsiteX19" fmla="*/ 827523 w 2069164"/>
              <a:gd name="connsiteY19" fmla="*/ 389002 h 2561350"/>
              <a:gd name="connsiteX20" fmla="*/ 792619 w 2069164"/>
              <a:gd name="connsiteY20" fmla="*/ 283670 h 2561350"/>
              <a:gd name="connsiteX21" fmla="*/ 1028362 w 206916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64020 w 2066875"/>
              <a:gd name="connsiteY7" fmla="*/ 1597847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952"/>
              <a:gd name="connsiteY0" fmla="*/ 3 h 2561350"/>
              <a:gd name="connsiteX1" fmla="*/ 1242025 w 2066952"/>
              <a:gd name="connsiteY1" fmla="*/ 286050 h 2561350"/>
              <a:gd name="connsiteX2" fmla="*/ 1219889 w 2066952"/>
              <a:gd name="connsiteY2" fmla="*/ 389002 h 2561350"/>
              <a:gd name="connsiteX3" fmla="*/ 1963063 w 2066952"/>
              <a:gd name="connsiteY3" fmla="*/ 357327 h 2561350"/>
              <a:gd name="connsiteX4" fmla="*/ 2066506 w 2066952"/>
              <a:gd name="connsiteY4" fmla="*/ 961234 h 2561350"/>
              <a:gd name="connsiteX5" fmla="*/ 1862717 w 2066952"/>
              <a:gd name="connsiteY5" fmla="*/ 1056790 h 2561350"/>
              <a:gd name="connsiteX6" fmla="*/ 1824721 w 2066952"/>
              <a:gd name="connsiteY6" fmla="*/ 1531159 h 2561350"/>
              <a:gd name="connsiteX7" fmla="*/ 2042416 w 2066952"/>
              <a:gd name="connsiteY7" fmla="*/ 1619452 h 2561350"/>
              <a:gd name="connsiteX8" fmla="*/ 1951283 w 2066952"/>
              <a:gd name="connsiteY8" fmla="*/ 2180265 h 2561350"/>
              <a:gd name="connsiteX9" fmla="*/ 1222152 w 2066952"/>
              <a:gd name="connsiteY9" fmla="*/ 2167002 h 2561350"/>
              <a:gd name="connsiteX10" fmla="*/ 1242025 w 2066952"/>
              <a:gd name="connsiteY10" fmla="*/ 2275300 h 2561350"/>
              <a:gd name="connsiteX11" fmla="*/ 791969 w 2066952"/>
              <a:gd name="connsiteY11" fmla="*/ 2277680 h 2561350"/>
              <a:gd name="connsiteX12" fmla="*/ 821902 w 2066952"/>
              <a:gd name="connsiteY12" fmla="*/ 2167002 h 2561350"/>
              <a:gd name="connsiteX13" fmla="*/ 128977 w 2066952"/>
              <a:gd name="connsiteY13" fmla="*/ 2200159 h 2561350"/>
              <a:gd name="connsiteX14" fmla="*/ 0 w 2066952"/>
              <a:gd name="connsiteY14" fmla="*/ 1657531 h 2561350"/>
              <a:gd name="connsiteX15" fmla="*/ 257433 w 2066952"/>
              <a:gd name="connsiteY15" fmla="*/ 1557347 h 2561350"/>
              <a:gd name="connsiteX16" fmla="*/ 239483 w 2066952"/>
              <a:gd name="connsiteY16" fmla="*/ 1049619 h 2561350"/>
              <a:gd name="connsiteX17" fmla="*/ 29065 w 2066952"/>
              <a:gd name="connsiteY17" fmla="*/ 1005469 h 2561350"/>
              <a:gd name="connsiteX18" fmla="*/ 100444 w 2066952"/>
              <a:gd name="connsiteY18" fmla="*/ 369408 h 2561350"/>
              <a:gd name="connsiteX19" fmla="*/ 826873 w 2066952"/>
              <a:gd name="connsiteY19" fmla="*/ 389002 h 2561350"/>
              <a:gd name="connsiteX20" fmla="*/ 791969 w 2066952"/>
              <a:gd name="connsiteY20" fmla="*/ 283670 h 2561350"/>
              <a:gd name="connsiteX21" fmla="*/ 1027712 w 2066952"/>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6650"/>
              <a:gd name="connsiteY0" fmla="*/ 3 h 2561350"/>
              <a:gd name="connsiteX1" fmla="*/ 1242025 w 2066650"/>
              <a:gd name="connsiteY1" fmla="*/ 286050 h 2561350"/>
              <a:gd name="connsiteX2" fmla="*/ 1219889 w 2066650"/>
              <a:gd name="connsiteY2" fmla="*/ 389002 h 2561350"/>
              <a:gd name="connsiteX3" fmla="*/ 1967384 w 2066650"/>
              <a:gd name="connsiteY3" fmla="*/ 344364 h 2561350"/>
              <a:gd name="connsiteX4" fmla="*/ 2066506 w 2066650"/>
              <a:gd name="connsiteY4" fmla="*/ 961234 h 2561350"/>
              <a:gd name="connsiteX5" fmla="*/ 1862717 w 2066650"/>
              <a:gd name="connsiteY5" fmla="*/ 1056790 h 2561350"/>
              <a:gd name="connsiteX6" fmla="*/ 1824721 w 2066650"/>
              <a:gd name="connsiteY6" fmla="*/ 1531159 h 2561350"/>
              <a:gd name="connsiteX7" fmla="*/ 2042416 w 2066650"/>
              <a:gd name="connsiteY7" fmla="*/ 1619452 h 2561350"/>
              <a:gd name="connsiteX8" fmla="*/ 1951283 w 2066650"/>
              <a:gd name="connsiteY8" fmla="*/ 2180265 h 2561350"/>
              <a:gd name="connsiteX9" fmla="*/ 1222152 w 2066650"/>
              <a:gd name="connsiteY9" fmla="*/ 2167002 h 2561350"/>
              <a:gd name="connsiteX10" fmla="*/ 1242025 w 2066650"/>
              <a:gd name="connsiteY10" fmla="*/ 2275300 h 2561350"/>
              <a:gd name="connsiteX11" fmla="*/ 791969 w 2066650"/>
              <a:gd name="connsiteY11" fmla="*/ 2277680 h 2561350"/>
              <a:gd name="connsiteX12" fmla="*/ 821902 w 2066650"/>
              <a:gd name="connsiteY12" fmla="*/ 2167002 h 2561350"/>
              <a:gd name="connsiteX13" fmla="*/ 128977 w 2066650"/>
              <a:gd name="connsiteY13" fmla="*/ 2200159 h 2561350"/>
              <a:gd name="connsiteX14" fmla="*/ 0 w 2066650"/>
              <a:gd name="connsiteY14" fmla="*/ 1657531 h 2561350"/>
              <a:gd name="connsiteX15" fmla="*/ 257433 w 2066650"/>
              <a:gd name="connsiteY15" fmla="*/ 1557347 h 2561350"/>
              <a:gd name="connsiteX16" fmla="*/ 239483 w 2066650"/>
              <a:gd name="connsiteY16" fmla="*/ 1049619 h 2561350"/>
              <a:gd name="connsiteX17" fmla="*/ 29065 w 2066650"/>
              <a:gd name="connsiteY17" fmla="*/ 1005469 h 2561350"/>
              <a:gd name="connsiteX18" fmla="*/ 100444 w 2066650"/>
              <a:gd name="connsiteY18" fmla="*/ 369408 h 2561350"/>
              <a:gd name="connsiteX19" fmla="*/ 826873 w 2066650"/>
              <a:gd name="connsiteY19" fmla="*/ 389002 h 2561350"/>
              <a:gd name="connsiteX20" fmla="*/ 791969 w 2066650"/>
              <a:gd name="connsiteY20" fmla="*/ 283670 h 2561350"/>
              <a:gd name="connsiteX21" fmla="*/ 1027712 w 2066650"/>
              <a:gd name="connsiteY21" fmla="*/ 3 h 2561350"/>
              <a:gd name="connsiteX0" fmla="*/ 1027712 w 2049409"/>
              <a:gd name="connsiteY0" fmla="*/ 3 h 2561350"/>
              <a:gd name="connsiteX1" fmla="*/ 1242025 w 2049409"/>
              <a:gd name="connsiteY1" fmla="*/ 286050 h 2561350"/>
              <a:gd name="connsiteX2" fmla="*/ 1219889 w 2049409"/>
              <a:gd name="connsiteY2" fmla="*/ 389002 h 2561350"/>
              <a:gd name="connsiteX3" fmla="*/ 1967384 w 2049409"/>
              <a:gd name="connsiteY3" fmla="*/ 344364 h 2561350"/>
              <a:gd name="connsiteX4" fmla="*/ 2049225 w 2049409"/>
              <a:gd name="connsiteY4" fmla="*/ 926667 h 2561350"/>
              <a:gd name="connsiteX5" fmla="*/ 1862717 w 2049409"/>
              <a:gd name="connsiteY5" fmla="*/ 1056790 h 2561350"/>
              <a:gd name="connsiteX6" fmla="*/ 1824721 w 2049409"/>
              <a:gd name="connsiteY6" fmla="*/ 1531159 h 2561350"/>
              <a:gd name="connsiteX7" fmla="*/ 2042416 w 2049409"/>
              <a:gd name="connsiteY7" fmla="*/ 1619452 h 2561350"/>
              <a:gd name="connsiteX8" fmla="*/ 1951283 w 2049409"/>
              <a:gd name="connsiteY8" fmla="*/ 2180265 h 2561350"/>
              <a:gd name="connsiteX9" fmla="*/ 1222152 w 2049409"/>
              <a:gd name="connsiteY9" fmla="*/ 2167002 h 2561350"/>
              <a:gd name="connsiteX10" fmla="*/ 1242025 w 2049409"/>
              <a:gd name="connsiteY10" fmla="*/ 2275300 h 2561350"/>
              <a:gd name="connsiteX11" fmla="*/ 791969 w 2049409"/>
              <a:gd name="connsiteY11" fmla="*/ 2277680 h 2561350"/>
              <a:gd name="connsiteX12" fmla="*/ 821902 w 2049409"/>
              <a:gd name="connsiteY12" fmla="*/ 2167002 h 2561350"/>
              <a:gd name="connsiteX13" fmla="*/ 128977 w 2049409"/>
              <a:gd name="connsiteY13" fmla="*/ 2200159 h 2561350"/>
              <a:gd name="connsiteX14" fmla="*/ 0 w 2049409"/>
              <a:gd name="connsiteY14" fmla="*/ 1657531 h 2561350"/>
              <a:gd name="connsiteX15" fmla="*/ 257433 w 2049409"/>
              <a:gd name="connsiteY15" fmla="*/ 1557347 h 2561350"/>
              <a:gd name="connsiteX16" fmla="*/ 239483 w 2049409"/>
              <a:gd name="connsiteY16" fmla="*/ 1049619 h 2561350"/>
              <a:gd name="connsiteX17" fmla="*/ 29065 w 2049409"/>
              <a:gd name="connsiteY17" fmla="*/ 1005469 h 2561350"/>
              <a:gd name="connsiteX18" fmla="*/ 100444 w 2049409"/>
              <a:gd name="connsiteY18" fmla="*/ 369408 h 2561350"/>
              <a:gd name="connsiteX19" fmla="*/ 826873 w 2049409"/>
              <a:gd name="connsiteY19" fmla="*/ 389002 h 2561350"/>
              <a:gd name="connsiteX20" fmla="*/ 791969 w 2049409"/>
              <a:gd name="connsiteY20" fmla="*/ 283670 h 2561350"/>
              <a:gd name="connsiteX21" fmla="*/ 1027712 w 2049409"/>
              <a:gd name="connsiteY21" fmla="*/ 3 h 2561350"/>
              <a:gd name="connsiteX0" fmla="*/ 1027712 w 2049338"/>
              <a:gd name="connsiteY0" fmla="*/ 3 h 2561350"/>
              <a:gd name="connsiteX1" fmla="*/ 1242025 w 2049338"/>
              <a:gd name="connsiteY1" fmla="*/ 286050 h 2561350"/>
              <a:gd name="connsiteX2" fmla="*/ 1219889 w 2049338"/>
              <a:gd name="connsiteY2" fmla="*/ 389002 h 2561350"/>
              <a:gd name="connsiteX3" fmla="*/ 1967384 w 2049338"/>
              <a:gd name="connsiteY3" fmla="*/ 344364 h 2561350"/>
              <a:gd name="connsiteX4" fmla="*/ 2049225 w 2049338"/>
              <a:gd name="connsiteY4" fmla="*/ 926667 h 2561350"/>
              <a:gd name="connsiteX5" fmla="*/ 1862717 w 2049338"/>
              <a:gd name="connsiteY5" fmla="*/ 1056790 h 2561350"/>
              <a:gd name="connsiteX6" fmla="*/ 1824721 w 2049338"/>
              <a:gd name="connsiteY6" fmla="*/ 1531159 h 2561350"/>
              <a:gd name="connsiteX7" fmla="*/ 2042416 w 2049338"/>
              <a:gd name="connsiteY7" fmla="*/ 1619452 h 2561350"/>
              <a:gd name="connsiteX8" fmla="*/ 1951283 w 2049338"/>
              <a:gd name="connsiteY8" fmla="*/ 2180265 h 2561350"/>
              <a:gd name="connsiteX9" fmla="*/ 1222152 w 2049338"/>
              <a:gd name="connsiteY9" fmla="*/ 2167002 h 2561350"/>
              <a:gd name="connsiteX10" fmla="*/ 1242025 w 2049338"/>
              <a:gd name="connsiteY10" fmla="*/ 2275300 h 2561350"/>
              <a:gd name="connsiteX11" fmla="*/ 791969 w 2049338"/>
              <a:gd name="connsiteY11" fmla="*/ 2277680 h 2561350"/>
              <a:gd name="connsiteX12" fmla="*/ 821902 w 2049338"/>
              <a:gd name="connsiteY12" fmla="*/ 2167002 h 2561350"/>
              <a:gd name="connsiteX13" fmla="*/ 128977 w 2049338"/>
              <a:gd name="connsiteY13" fmla="*/ 2200159 h 2561350"/>
              <a:gd name="connsiteX14" fmla="*/ 0 w 2049338"/>
              <a:gd name="connsiteY14" fmla="*/ 1657531 h 2561350"/>
              <a:gd name="connsiteX15" fmla="*/ 257433 w 2049338"/>
              <a:gd name="connsiteY15" fmla="*/ 1557347 h 2561350"/>
              <a:gd name="connsiteX16" fmla="*/ 239483 w 2049338"/>
              <a:gd name="connsiteY16" fmla="*/ 1049619 h 2561350"/>
              <a:gd name="connsiteX17" fmla="*/ 29065 w 2049338"/>
              <a:gd name="connsiteY17" fmla="*/ 1005469 h 2561350"/>
              <a:gd name="connsiteX18" fmla="*/ 100444 w 2049338"/>
              <a:gd name="connsiteY18" fmla="*/ 369408 h 2561350"/>
              <a:gd name="connsiteX19" fmla="*/ 826873 w 2049338"/>
              <a:gd name="connsiteY19" fmla="*/ 389002 h 2561350"/>
              <a:gd name="connsiteX20" fmla="*/ 791969 w 2049338"/>
              <a:gd name="connsiteY20" fmla="*/ 283670 h 2561350"/>
              <a:gd name="connsiteX21" fmla="*/ 1027712 w 2049338"/>
              <a:gd name="connsiteY21" fmla="*/ 3 h 2561350"/>
              <a:gd name="connsiteX0" fmla="*/ 1027712 w 2053522"/>
              <a:gd name="connsiteY0" fmla="*/ 3 h 2561350"/>
              <a:gd name="connsiteX1" fmla="*/ 1242025 w 2053522"/>
              <a:gd name="connsiteY1" fmla="*/ 286050 h 2561350"/>
              <a:gd name="connsiteX2" fmla="*/ 1219889 w 2053522"/>
              <a:gd name="connsiteY2" fmla="*/ 389002 h 2561350"/>
              <a:gd name="connsiteX3" fmla="*/ 1967384 w 2053522"/>
              <a:gd name="connsiteY3" fmla="*/ 344364 h 2561350"/>
              <a:gd name="connsiteX4" fmla="*/ 2049225 w 2053522"/>
              <a:gd name="connsiteY4" fmla="*/ 926667 h 2561350"/>
              <a:gd name="connsiteX5" fmla="*/ 1862717 w 2053522"/>
              <a:gd name="connsiteY5" fmla="*/ 1056790 h 2561350"/>
              <a:gd name="connsiteX6" fmla="*/ 1824721 w 2053522"/>
              <a:gd name="connsiteY6" fmla="*/ 1531159 h 2561350"/>
              <a:gd name="connsiteX7" fmla="*/ 2042416 w 2053522"/>
              <a:gd name="connsiteY7" fmla="*/ 1619452 h 2561350"/>
              <a:gd name="connsiteX8" fmla="*/ 1951283 w 2053522"/>
              <a:gd name="connsiteY8" fmla="*/ 2180265 h 2561350"/>
              <a:gd name="connsiteX9" fmla="*/ 1222152 w 2053522"/>
              <a:gd name="connsiteY9" fmla="*/ 2167002 h 2561350"/>
              <a:gd name="connsiteX10" fmla="*/ 1242025 w 2053522"/>
              <a:gd name="connsiteY10" fmla="*/ 2275300 h 2561350"/>
              <a:gd name="connsiteX11" fmla="*/ 791969 w 2053522"/>
              <a:gd name="connsiteY11" fmla="*/ 2277680 h 2561350"/>
              <a:gd name="connsiteX12" fmla="*/ 821902 w 2053522"/>
              <a:gd name="connsiteY12" fmla="*/ 2167002 h 2561350"/>
              <a:gd name="connsiteX13" fmla="*/ 128977 w 2053522"/>
              <a:gd name="connsiteY13" fmla="*/ 2200159 h 2561350"/>
              <a:gd name="connsiteX14" fmla="*/ 0 w 2053522"/>
              <a:gd name="connsiteY14" fmla="*/ 1657531 h 2561350"/>
              <a:gd name="connsiteX15" fmla="*/ 257433 w 2053522"/>
              <a:gd name="connsiteY15" fmla="*/ 1557347 h 2561350"/>
              <a:gd name="connsiteX16" fmla="*/ 239483 w 2053522"/>
              <a:gd name="connsiteY16" fmla="*/ 1049619 h 2561350"/>
              <a:gd name="connsiteX17" fmla="*/ 29065 w 2053522"/>
              <a:gd name="connsiteY17" fmla="*/ 1005469 h 2561350"/>
              <a:gd name="connsiteX18" fmla="*/ 100444 w 2053522"/>
              <a:gd name="connsiteY18" fmla="*/ 369408 h 2561350"/>
              <a:gd name="connsiteX19" fmla="*/ 826873 w 2053522"/>
              <a:gd name="connsiteY19" fmla="*/ 389002 h 2561350"/>
              <a:gd name="connsiteX20" fmla="*/ 791969 w 2053522"/>
              <a:gd name="connsiteY20" fmla="*/ 283670 h 2561350"/>
              <a:gd name="connsiteX21" fmla="*/ 1027712 w 2053522"/>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6166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60129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0556" h="2561350">
                <a:moveTo>
                  <a:pt x="1014747" y="3"/>
                </a:moveTo>
                <a:cubicBezTo>
                  <a:pt x="1183816" y="-691"/>
                  <a:pt x="1351799" y="120921"/>
                  <a:pt x="1229060" y="286050"/>
                </a:cubicBezTo>
                <a:cubicBezTo>
                  <a:pt x="1212950" y="315682"/>
                  <a:pt x="1201168" y="348101"/>
                  <a:pt x="1206924" y="389002"/>
                </a:cubicBezTo>
                <a:cubicBezTo>
                  <a:pt x="1211992" y="528261"/>
                  <a:pt x="1716654" y="452477"/>
                  <a:pt x="1954419" y="344364"/>
                </a:cubicBezTo>
                <a:cubicBezTo>
                  <a:pt x="1970498" y="474789"/>
                  <a:pt x="2061145" y="783619"/>
                  <a:pt x="2036260" y="926667"/>
                </a:cubicBezTo>
                <a:cubicBezTo>
                  <a:pt x="2027166" y="1024060"/>
                  <a:pt x="1970476" y="1153289"/>
                  <a:pt x="1849752" y="1060129"/>
                </a:cubicBezTo>
                <a:cubicBezTo>
                  <a:pt x="1475468" y="853624"/>
                  <a:pt x="1487545" y="1649324"/>
                  <a:pt x="1811756" y="1531159"/>
                </a:cubicBezTo>
                <a:cubicBezTo>
                  <a:pt x="1923754" y="1469515"/>
                  <a:pt x="1987209" y="1400411"/>
                  <a:pt x="2036129" y="1616113"/>
                </a:cubicBezTo>
                <a:cubicBezTo>
                  <a:pt x="2051136" y="1730790"/>
                  <a:pt x="1956393" y="2051666"/>
                  <a:pt x="1938318" y="2180265"/>
                </a:cubicBezTo>
                <a:cubicBezTo>
                  <a:pt x="1741694" y="2153739"/>
                  <a:pt x="1359392" y="2007849"/>
                  <a:pt x="1209187" y="2167002"/>
                </a:cubicBezTo>
                <a:cubicBezTo>
                  <a:pt x="1195706" y="2193452"/>
                  <a:pt x="1198508" y="2230274"/>
                  <a:pt x="1229060" y="2275300"/>
                </a:cubicBezTo>
                <a:cubicBezTo>
                  <a:pt x="1469566" y="2660267"/>
                  <a:pt x="567071" y="2652331"/>
                  <a:pt x="779004" y="2277680"/>
                </a:cubicBezTo>
                <a:cubicBezTo>
                  <a:pt x="817979" y="2223379"/>
                  <a:pt x="825787" y="2190096"/>
                  <a:pt x="808937" y="2167002"/>
                </a:cubicBezTo>
                <a:cubicBezTo>
                  <a:pt x="706169" y="2021111"/>
                  <a:pt x="364670" y="2147108"/>
                  <a:pt x="116012" y="2200159"/>
                </a:cubicBezTo>
                <a:cubicBezTo>
                  <a:pt x="57942" y="2073996"/>
                  <a:pt x="976" y="1794778"/>
                  <a:pt x="0" y="1657530"/>
                </a:cubicBezTo>
                <a:cubicBezTo>
                  <a:pt x="23569" y="1399547"/>
                  <a:pt x="142648" y="1475748"/>
                  <a:pt x="248790" y="1539671"/>
                </a:cubicBezTo>
                <a:cubicBezTo>
                  <a:pt x="563771" y="1555589"/>
                  <a:pt x="485163" y="925406"/>
                  <a:pt x="226518" y="1049619"/>
                </a:cubicBezTo>
                <a:cubicBezTo>
                  <a:pt x="150003" y="1086365"/>
                  <a:pt x="56561" y="1164379"/>
                  <a:pt x="16100" y="1005469"/>
                </a:cubicBezTo>
                <a:cubicBezTo>
                  <a:pt x="-32993" y="864734"/>
                  <a:pt x="47286" y="478570"/>
                  <a:pt x="87479" y="369408"/>
                </a:cubicBezTo>
                <a:cubicBezTo>
                  <a:pt x="483685" y="502036"/>
                  <a:pt x="775797" y="488473"/>
                  <a:pt x="813908" y="389002"/>
                </a:cubicBezTo>
                <a:cubicBezTo>
                  <a:pt x="824229" y="365427"/>
                  <a:pt x="814657" y="333342"/>
                  <a:pt x="779004" y="283670"/>
                </a:cubicBezTo>
                <a:cubicBezTo>
                  <a:pt x="673038" y="96344"/>
                  <a:pt x="845678" y="698"/>
                  <a:pt x="1014747" y="3"/>
                </a:cubicBezTo>
                <a:close/>
              </a:path>
            </a:pathLst>
          </a:custGeom>
          <a:gradFill flip="none" rotWithShape="1">
            <a:gsLst>
              <a:gs pos="0">
                <a:srgbClr val="BD67B9">
                  <a:lumMod val="50000"/>
                </a:srgbClr>
              </a:gs>
              <a:gs pos="100000">
                <a:srgbClr val="BD67B9"/>
              </a:gs>
            </a:gsLst>
            <a:lin ang="108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0" name="Rectangle 5"/>
          <p:cNvSpPr/>
          <p:nvPr/>
        </p:nvSpPr>
        <p:spPr>
          <a:xfrm flipV="1">
            <a:off x="8086466" y="2201940"/>
            <a:ext cx="1105511" cy="1199348"/>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564" h="2561350">
                <a:moveTo>
                  <a:pt x="1028762" y="3"/>
                </a:moveTo>
                <a:cubicBezTo>
                  <a:pt x="1197831" y="-691"/>
                  <a:pt x="1365814" y="120921"/>
                  <a:pt x="1243075" y="286050"/>
                </a:cubicBezTo>
                <a:cubicBezTo>
                  <a:pt x="1226965" y="315682"/>
                  <a:pt x="1215183" y="348101"/>
                  <a:pt x="1220939" y="389002"/>
                </a:cubicBezTo>
                <a:cubicBezTo>
                  <a:pt x="1226007" y="528261"/>
                  <a:pt x="1696102" y="461119"/>
                  <a:pt x="1959793" y="361648"/>
                </a:cubicBezTo>
                <a:cubicBezTo>
                  <a:pt x="2053648" y="496394"/>
                  <a:pt x="2070837" y="822506"/>
                  <a:pt x="2067556" y="961234"/>
                </a:cubicBezTo>
                <a:cubicBezTo>
                  <a:pt x="2071425" y="1080232"/>
                  <a:pt x="2014728" y="1106744"/>
                  <a:pt x="1881048" y="1030865"/>
                </a:cubicBezTo>
                <a:cubicBezTo>
                  <a:pt x="1483772" y="845572"/>
                  <a:pt x="1585020" y="1699608"/>
                  <a:pt x="1847373" y="1535481"/>
                </a:cubicBezTo>
                <a:cubicBezTo>
                  <a:pt x="1929125" y="1495441"/>
                  <a:pt x="2055039" y="1373504"/>
                  <a:pt x="2065070" y="1597847"/>
                </a:cubicBezTo>
                <a:cubicBezTo>
                  <a:pt x="2080077" y="1677957"/>
                  <a:pt x="2061145" y="2086235"/>
                  <a:pt x="1952333" y="2180265"/>
                </a:cubicBezTo>
                <a:cubicBezTo>
                  <a:pt x="1755709" y="2153739"/>
                  <a:pt x="1373407" y="2007849"/>
                  <a:pt x="1223202" y="2167002"/>
                </a:cubicBezTo>
                <a:cubicBezTo>
                  <a:pt x="1209721" y="2193452"/>
                  <a:pt x="1212523" y="2230274"/>
                  <a:pt x="1243075" y="2275300"/>
                </a:cubicBezTo>
                <a:cubicBezTo>
                  <a:pt x="1483581" y="2660267"/>
                  <a:pt x="581086" y="2652331"/>
                  <a:pt x="793019" y="2277680"/>
                </a:cubicBezTo>
                <a:cubicBezTo>
                  <a:pt x="831994" y="2223379"/>
                  <a:pt x="839802" y="2190096"/>
                  <a:pt x="822952" y="2167002"/>
                </a:cubicBezTo>
                <a:cubicBezTo>
                  <a:pt x="720184" y="2021111"/>
                  <a:pt x="378685" y="2147108"/>
                  <a:pt x="130027" y="2200159"/>
                </a:cubicBezTo>
                <a:cubicBezTo>
                  <a:pt x="37391" y="2130168"/>
                  <a:pt x="-7600" y="1771407"/>
                  <a:pt x="1050" y="1657531"/>
                </a:cubicBezTo>
                <a:cubicBezTo>
                  <a:pt x="24620" y="1416831"/>
                  <a:pt x="117773" y="1502066"/>
                  <a:pt x="271446" y="1561668"/>
                </a:cubicBezTo>
                <a:cubicBezTo>
                  <a:pt x="483628" y="1635999"/>
                  <a:pt x="591036" y="1022800"/>
                  <a:pt x="249172" y="1045298"/>
                </a:cubicBezTo>
                <a:cubicBezTo>
                  <a:pt x="168463" y="1050498"/>
                  <a:pt x="31683" y="1183628"/>
                  <a:pt x="8510" y="1018431"/>
                </a:cubicBezTo>
                <a:cubicBezTo>
                  <a:pt x="-14663" y="907943"/>
                  <a:pt x="13766" y="478572"/>
                  <a:pt x="110133" y="382371"/>
                </a:cubicBezTo>
                <a:cubicBezTo>
                  <a:pt x="506339" y="514999"/>
                  <a:pt x="789812" y="488473"/>
                  <a:pt x="827923" y="389002"/>
                </a:cubicBezTo>
                <a:cubicBezTo>
                  <a:pt x="838244" y="365427"/>
                  <a:pt x="828672" y="333342"/>
                  <a:pt x="793019" y="283670"/>
                </a:cubicBezTo>
                <a:cubicBezTo>
                  <a:pt x="687053" y="96344"/>
                  <a:pt x="859693" y="698"/>
                  <a:pt x="1028762" y="3"/>
                </a:cubicBezTo>
                <a:close/>
              </a:path>
            </a:pathLst>
          </a:custGeom>
          <a:gradFill flip="none" rotWithShape="1">
            <a:gsLst>
              <a:gs pos="0">
                <a:srgbClr val="0070C0"/>
              </a:gs>
              <a:gs pos="100000">
                <a:srgbClr val="00B0F0"/>
              </a:gs>
            </a:gsLst>
            <a:lin ang="54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8" name="Rectangle 5"/>
          <p:cNvSpPr/>
          <p:nvPr/>
        </p:nvSpPr>
        <p:spPr>
          <a:xfrm>
            <a:off x="8108179" y="493144"/>
            <a:ext cx="1105328" cy="1199348"/>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823242 w 2069854"/>
              <a:gd name="connsiteY12" fmla="*/ 2167002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823242 w 2069854"/>
              <a:gd name="connsiteY12" fmla="*/ 2167002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793309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026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854"/>
              <a:gd name="connsiteY0" fmla="*/ 3 h 2561350"/>
              <a:gd name="connsiteX1" fmla="*/ 1243365 w 2069854"/>
              <a:gd name="connsiteY1" fmla="*/ 286050 h 2561350"/>
              <a:gd name="connsiteX2" fmla="*/ 1221229 w 2069854"/>
              <a:gd name="connsiteY2" fmla="*/ 389002 h 2561350"/>
              <a:gd name="connsiteX3" fmla="*/ 1960083 w 2069854"/>
              <a:gd name="connsiteY3" fmla="*/ 361648 h 2561350"/>
              <a:gd name="connsiteX4" fmla="*/ 2067846 w 2069854"/>
              <a:gd name="connsiteY4" fmla="*/ 961234 h 2561350"/>
              <a:gd name="connsiteX5" fmla="*/ 1881338 w 2069854"/>
              <a:gd name="connsiteY5" fmla="*/ 1030865 h 2561350"/>
              <a:gd name="connsiteX6" fmla="*/ 1847663 w 2069854"/>
              <a:gd name="connsiteY6" fmla="*/ 1535481 h 2561350"/>
              <a:gd name="connsiteX7" fmla="*/ 2065360 w 2069854"/>
              <a:gd name="connsiteY7" fmla="*/ 1597847 h 2561350"/>
              <a:gd name="connsiteX8" fmla="*/ 1952623 w 2069854"/>
              <a:gd name="connsiteY8" fmla="*/ 2187725 h 2561350"/>
              <a:gd name="connsiteX9" fmla="*/ 1223492 w 2069854"/>
              <a:gd name="connsiteY9" fmla="*/ 2167002 h 2561350"/>
              <a:gd name="connsiteX10" fmla="*/ 1243365 w 2069854"/>
              <a:gd name="connsiteY10" fmla="*/ 2275300 h 2561350"/>
              <a:gd name="connsiteX11" fmla="*/ 803256 w 2069854"/>
              <a:gd name="connsiteY11" fmla="*/ 2277680 h 2561350"/>
              <a:gd name="connsiteX12" fmla="*/ 723771 w 2069854"/>
              <a:gd name="connsiteY12" fmla="*/ 2109806 h 2561350"/>
              <a:gd name="connsiteX13" fmla="*/ 117884 w 2069854"/>
              <a:gd name="connsiteY13" fmla="*/ 2215080 h 2561350"/>
              <a:gd name="connsiteX14" fmla="*/ 1340 w 2069854"/>
              <a:gd name="connsiteY14" fmla="*/ 1657531 h 2561350"/>
              <a:gd name="connsiteX15" fmla="*/ 271736 w 2069854"/>
              <a:gd name="connsiteY15" fmla="*/ 1561668 h 2561350"/>
              <a:gd name="connsiteX16" fmla="*/ 249462 w 2069854"/>
              <a:gd name="connsiteY16" fmla="*/ 1045298 h 2561350"/>
              <a:gd name="connsiteX17" fmla="*/ 8800 w 2069854"/>
              <a:gd name="connsiteY17" fmla="*/ 1018431 h 2561350"/>
              <a:gd name="connsiteX18" fmla="*/ 110423 w 2069854"/>
              <a:gd name="connsiteY18" fmla="*/ 382371 h 2561350"/>
              <a:gd name="connsiteX19" fmla="*/ 828213 w 2069854"/>
              <a:gd name="connsiteY19" fmla="*/ 389002 h 2561350"/>
              <a:gd name="connsiteX20" fmla="*/ 793309 w 2069854"/>
              <a:gd name="connsiteY20" fmla="*/ 283670 h 2561350"/>
              <a:gd name="connsiteX21" fmla="*/ 1029052 w 2069854"/>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 name="connsiteX0" fmla="*/ 1029052 w 2069223"/>
              <a:gd name="connsiteY0" fmla="*/ 3 h 2561350"/>
              <a:gd name="connsiteX1" fmla="*/ 1243365 w 2069223"/>
              <a:gd name="connsiteY1" fmla="*/ 286050 h 2561350"/>
              <a:gd name="connsiteX2" fmla="*/ 1221229 w 2069223"/>
              <a:gd name="connsiteY2" fmla="*/ 389002 h 2561350"/>
              <a:gd name="connsiteX3" fmla="*/ 1960083 w 2069223"/>
              <a:gd name="connsiteY3" fmla="*/ 361648 h 2561350"/>
              <a:gd name="connsiteX4" fmla="*/ 2067846 w 2069223"/>
              <a:gd name="connsiteY4" fmla="*/ 961234 h 2561350"/>
              <a:gd name="connsiteX5" fmla="*/ 1881338 w 2069223"/>
              <a:gd name="connsiteY5" fmla="*/ 1030865 h 2561350"/>
              <a:gd name="connsiteX6" fmla="*/ 1847663 w 2069223"/>
              <a:gd name="connsiteY6" fmla="*/ 1535481 h 2561350"/>
              <a:gd name="connsiteX7" fmla="*/ 2065360 w 2069223"/>
              <a:gd name="connsiteY7" fmla="*/ 1597847 h 2561350"/>
              <a:gd name="connsiteX8" fmla="*/ 1945162 w 2069223"/>
              <a:gd name="connsiteY8" fmla="*/ 2187725 h 2561350"/>
              <a:gd name="connsiteX9" fmla="*/ 1223492 w 2069223"/>
              <a:gd name="connsiteY9" fmla="*/ 2167002 h 2561350"/>
              <a:gd name="connsiteX10" fmla="*/ 1243365 w 2069223"/>
              <a:gd name="connsiteY10" fmla="*/ 2275300 h 2561350"/>
              <a:gd name="connsiteX11" fmla="*/ 803256 w 2069223"/>
              <a:gd name="connsiteY11" fmla="*/ 2277680 h 2561350"/>
              <a:gd name="connsiteX12" fmla="*/ 723771 w 2069223"/>
              <a:gd name="connsiteY12" fmla="*/ 2109806 h 2561350"/>
              <a:gd name="connsiteX13" fmla="*/ 117884 w 2069223"/>
              <a:gd name="connsiteY13" fmla="*/ 2215080 h 2561350"/>
              <a:gd name="connsiteX14" fmla="*/ 1340 w 2069223"/>
              <a:gd name="connsiteY14" fmla="*/ 1657531 h 2561350"/>
              <a:gd name="connsiteX15" fmla="*/ 271736 w 2069223"/>
              <a:gd name="connsiteY15" fmla="*/ 1561668 h 2561350"/>
              <a:gd name="connsiteX16" fmla="*/ 249462 w 2069223"/>
              <a:gd name="connsiteY16" fmla="*/ 1045298 h 2561350"/>
              <a:gd name="connsiteX17" fmla="*/ 8800 w 2069223"/>
              <a:gd name="connsiteY17" fmla="*/ 1018431 h 2561350"/>
              <a:gd name="connsiteX18" fmla="*/ 110423 w 2069223"/>
              <a:gd name="connsiteY18" fmla="*/ 382371 h 2561350"/>
              <a:gd name="connsiteX19" fmla="*/ 828213 w 2069223"/>
              <a:gd name="connsiteY19" fmla="*/ 389002 h 2561350"/>
              <a:gd name="connsiteX20" fmla="*/ 793309 w 2069223"/>
              <a:gd name="connsiteY20" fmla="*/ 283670 h 2561350"/>
              <a:gd name="connsiteX21" fmla="*/ 1029052 w 2069223"/>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223" h="2561350">
                <a:moveTo>
                  <a:pt x="1029052" y="3"/>
                </a:moveTo>
                <a:cubicBezTo>
                  <a:pt x="1198121" y="-691"/>
                  <a:pt x="1366104" y="120921"/>
                  <a:pt x="1243365" y="286050"/>
                </a:cubicBezTo>
                <a:cubicBezTo>
                  <a:pt x="1227255" y="315682"/>
                  <a:pt x="1215473" y="348101"/>
                  <a:pt x="1221229" y="389002"/>
                </a:cubicBezTo>
                <a:cubicBezTo>
                  <a:pt x="1226297" y="528261"/>
                  <a:pt x="1696392" y="461119"/>
                  <a:pt x="1960083" y="361648"/>
                </a:cubicBezTo>
                <a:cubicBezTo>
                  <a:pt x="2053938" y="496394"/>
                  <a:pt x="2071127" y="822506"/>
                  <a:pt x="2067846" y="961234"/>
                </a:cubicBezTo>
                <a:cubicBezTo>
                  <a:pt x="2071715" y="1080232"/>
                  <a:pt x="2015018" y="1106744"/>
                  <a:pt x="1881338" y="1030865"/>
                </a:cubicBezTo>
                <a:cubicBezTo>
                  <a:pt x="1484062" y="845572"/>
                  <a:pt x="1585310" y="1699608"/>
                  <a:pt x="1847663" y="1535481"/>
                </a:cubicBezTo>
                <a:cubicBezTo>
                  <a:pt x="1929415" y="1495441"/>
                  <a:pt x="2055329" y="1373504"/>
                  <a:pt x="2065360" y="1597847"/>
                </a:cubicBezTo>
                <a:cubicBezTo>
                  <a:pt x="2080367" y="1677957"/>
                  <a:pt x="2053974" y="2093695"/>
                  <a:pt x="1945162" y="2187725"/>
                </a:cubicBezTo>
                <a:cubicBezTo>
                  <a:pt x="1805733" y="2151252"/>
                  <a:pt x="1398565" y="2030230"/>
                  <a:pt x="1223492" y="2167002"/>
                </a:cubicBezTo>
                <a:cubicBezTo>
                  <a:pt x="1210011" y="2193452"/>
                  <a:pt x="1212813" y="2230274"/>
                  <a:pt x="1243365" y="2275300"/>
                </a:cubicBezTo>
                <a:cubicBezTo>
                  <a:pt x="1483871" y="2660267"/>
                  <a:pt x="591323" y="2652331"/>
                  <a:pt x="803256" y="2277680"/>
                </a:cubicBezTo>
                <a:cubicBezTo>
                  <a:pt x="852179" y="2213432"/>
                  <a:pt x="836244" y="2132321"/>
                  <a:pt x="723771" y="2109806"/>
                </a:cubicBezTo>
                <a:cubicBezTo>
                  <a:pt x="609542" y="2086940"/>
                  <a:pt x="401355" y="2119754"/>
                  <a:pt x="117884" y="2215080"/>
                </a:cubicBezTo>
                <a:cubicBezTo>
                  <a:pt x="25248" y="2145089"/>
                  <a:pt x="-7310" y="1771407"/>
                  <a:pt x="1340" y="1657531"/>
                </a:cubicBezTo>
                <a:cubicBezTo>
                  <a:pt x="24910" y="1416831"/>
                  <a:pt x="118063" y="1502066"/>
                  <a:pt x="271736" y="1561668"/>
                </a:cubicBezTo>
                <a:cubicBezTo>
                  <a:pt x="483918" y="1635999"/>
                  <a:pt x="591326" y="1022800"/>
                  <a:pt x="249462" y="1045298"/>
                </a:cubicBezTo>
                <a:cubicBezTo>
                  <a:pt x="168753" y="1050498"/>
                  <a:pt x="31973" y="1183628"/>
                  <a:pt x="8800" y="1018431"/>
                </a:cubicBezTo>
                <a:cubicBezTo>
                  <a:pt x="-14373" y="907943"/>
                  <a:pt x="14056" y="478572"/>
                  <a:pt x="110423" y="382371"/>
                </a:cubicBezTo>
                <a:cubicBezTo>
                  <a:pt x="506629" y="514999"/>
                  <a:pt x="790102" y="488473"/>
                  <a:pt x="828213" y="389002"/>
                </a:cubicBezTo>
                <a:cubicBezTo>
                  <a:pt x="838534" y="365427"/>
                  <a:pt x="828962" y="333342"/>
                  <a:pt x="793309" y="283670"/>
                </a:cubicBezTo>
                <a:cubicBezTo>
                  <a:pt x="687343" y="96344"/>
                  <a:pt x="859983" y="698"/>
                  <a:pt x="1029052" y="3"/>
                </a:cubicBezTo>
                <a:close/>
              </a:path>
            </a:pathLst>
          </a:custGeom>
          <a:gradFill flip="none" rotWithShape="1">
            <a:gsLst>
              <a:gs pos="94000">
                <a:srgbClr val="FF6600">
                  <a:lumMod val="75000"/>
                </a:srgbClr>
              </a:gs>
              <a:gs pos="0">
                <a:srgbClr val="FF6600"/>
              </a:gs>
            </a:gsLst>
            <a:lin ang="5400000" scaled="1"/>
            <a:tileRect/>
          </a:gra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3" name="TextBox 62"/>
          <p:cNvSpPr txBox="1"/>
          <p:nvPr/>
        </p:nvSpPr>
        <p:spPr>
          <a:xfrm>
            <a:off x="8503540" y="800430"/>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1</a:t>
            </a:r>
          </a:p>
        </p:txBody>
      </p:sp>
      <p:sp>
        <p:nvSpPr>
          <p:cNvPr id="64" name="TextBox 63"/>
          <p:cNvSpPr txBox="1"/>
          <p:nvPr/>
        </p:nvSpPr>
        <p:spPr>
          <a:xfrm>
            <a:off x="8503540" y="1654838"/>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2</a:t>
            </a:r>
          </a:p>
        </p:txBody>
      </p:sp>
      <p:sp>
        <p:nvSpPr>
          <p:cNvPr id="65" name="TextBox 64"/>
          <p:cNvSpPr txBox="1"/>
          <p:nvPr/>
        </p:nvSpPr>
        <p:spPr>
          <a:xfrm>
            <a:off x="8503540" y="2519016"/>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3</a:t>
            </a:r>
          </a:p>
        </p:txBody>
      </p:sp>
      <p:sp>
        <p:nvSpPr>
          <p:cNvPr id="66" name="TextBox 65"/>
          <p:cNvSpPr txBox="1"/>
          <p:nvPr/>
        </p:nvSpPr>
        <p:spPr>
          <a:xfrm>
            <a:off x="8503540" y="3335972"/>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4</a:t>
            </a:r>
          </a:p>
        </p:txBody>
      </p:sp>
      <p:sp>
        <p:nvSpPr>
          <p:cNvPr id="67" name="TextBox 66"/>
          <p:cNvSpPr txBox="1"/>
          <p:nvPr/>
        </p:nvSpPr>
        <p:spPr>
          <a:xfrm>
            <a:off x="8546176" y="4163766"/>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5</a:t>
            </a:r>
          </a:p>
        </p:txBody>
      </p:sp>
      <p:grpSp>
        <p:nvGrpSpPr>
          <p:cNvPr id="73" name="Group 72"/>
          <p:cNvGrpSpPr/>
          <p:nvPr/>
        </p:nvGrpSpPr>
        <p:grpSpPr>
          <a:xfrm>
            <a:off x="2141003" y="1746585"/>
            <a:ext cx="5877851" cy="572512"/>
            <a:chOff x="205963" y="1259422"/>
            <a:chExt cx="5908655" cy="761963"/>
          </a:xfrm>
        </p:grpSpPr>
        <p:grpSp>
          <p:nvGrpSpPr>
            <p:cNvPr id="75" name="Group 74"/>
            <p:cNvGrpSpPr/>
            <p:nvPr/>
          </p:nvGrpSpPr>
          <p:grpSpPr>
            <a:xfrm>
              <a:off x="205963" y="1259422"/>
              <a:ext cx="5908655" cy="761963"/>
              <a:chOff x="205963" y="1259422"/>
              <a:chExt cx="5908655" cy="761963"/>
            </a:xfrm>
          </p:grpSpPr>
          <p:sp>
            <p:nvSpPr>
              <p:cNvPr id="77" name="Rounded Rectangle 76"/>
              <p:cNvSpPr/>
              <p:nvPr/>
            </p:nvSpPr>
            <p:spPr>
              <a:xfrm>
                <a:off x="344039" y="1259422"/>
                <a:ext cx="5770579" cy="761963"/>
              </a:xfrm>
              <a:prstGeom prst="roundRect">
                <a:avLst>
                  <a:gd name="adj" fmla="val 40104"/>
                </a:avLst>
              </a:prstGeom>
              <a:noFill/>
              <a:ln w="25400" cap="flat" cmpd="sng" algn="ctr">
                <a:gradFill flip="none" rotWithShape="1">
                  <a:gsLst>
                    <a:gs pos="0">
                      <a:srgbClr val="669900"/>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78" name="Oval 77"/>
              <p:cNvSpPr/>
              <p:nvPr/>
            </p:nvSpPr>
            <p:spPr>
              <a:xfrm>
                <a:off x="205963" y="1460468"/>
                <a:ext cx="377228" cy="373493"/>
              </a:xfrm>
              <a:prstGeom prst="ellipse">
                <a:avLst/>
              </a:prstGeom>
              <a:gradFill flip="none" rotWithShape="1">
                <a:gsLst>
                  <a:gs pos="75000">
                    <a:srgbClr val="669900"/>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76" name="Rectangle 75"/>
            <p:cNvSpPr/>
            <p:nvPr/>
          </p:nvSpPr>
          <p:spPr>
            <a:xfrm>
              <a:off x="677824" y="1368843"/>
              <a:ext cx="5312684" cy="553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latin typeface="Calibri"/>
                </a:rPr>
                <a:t>End to End live Asset Productivity tracking with minimal auditing cost</a:t>
              </a:r>
            </a:p>
          </p:txBody>
        </p:sp>
      </p:grpSp>
      <p:grpSp>
        <p:nvGrpSpPr>
          <p:cNvPr id="79" name="Group 78"/>
          <p:cNvGrpSpPr/>
          <p:nvPr/>
        </p:nvGrpSpPr>
        <p:grpSpPr>
          <a:xfrm>
            <a:off x="2141003" y="2590800"/>
            <a:ext cx="5877851" cy="572512"/>
            <a:chOff x="205963" y="1259422"/>
            <a:chExt cx="5908655" cy="761963"/>
          </a:xfrm>
        </p:grpSpPr>
        <p:grpSp>
          <p:nvGrpSpPr>
            <p:cNvPr id="81" name="Group 80"/>
            <p:cNvGrpSpPr/>
            <p:nvPr/>
          </p:nvGrpSpPr>
          <p:grpSpPr>
            <a:xfrm>
              <a:off x="205963" y="1259422"/>
              <a:ext cx="5908655" cy="761963"/>
              <a:chOff x="205963" y="1259422"/>
              <a:chExt cx="5908655" cy="761963"/>
            </a:xfrm>
          </p:grpSpPr>
          <p:sp>
            <p:nvSpPr>
              <p:cNvPr id="83" name="Rounded Rectangle 82"/>
              <p:cNvSpPr/>
              <p:nvPr/>
            </p:nvSpPr>
            <p:spPr>
              <a:xfrm>
                <a:off x="344039" y="1259422"/>
                <a:ext cx="5770579" cy="761963"/>
              </a:xfrm>
              <a:prstGeom prst="roundRect">
                <a:avLst>
                  <a:gd name="adj" fmla="val 40104"/>
                </a:avLst>
              </a:prstGeom>
              <a:noFill/>
              <a:ln w="25400" cap="flat" cmpd="sng" algn="ctr">
                <a:gradFill flip="none" rotWithShape="1">
                  <a:gsLst>
                    <a:gs pos="0">
                      <a:srgbClr val="00B0F0"/>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84" name="Oval 83"/>
              <p:cNvSpPr/>
              <p:nvPr/>
            </p:nvSpPr>
            <p:spPr>
              <a:xfrm>
                <a:off x="205963" y="1460468"/>
                <a:ext cx="377228" cy="373493"/>
              </a:xfrm>
              <a:prstGeom prst="ellipse">
                <a:avLst/>
              </a:prstGeom>
              <a:gradFill flip="none" rotWithShape="1">
                <a:gsLst>
                  <a:gs pos="75000">
                    <a:srgbClr val="00B0F0"/>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82" name="Rectangle 81"/>
            <p:cNvSpPr/>
            <p:nvPr/>
          </p:nvSpPr>
          <p:spPr>
            <a:xfrm>
              <a:off x="656944" y="1485631"/>
              <a:ext cx="5312684" cy="3231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b="1" kern="0" dirty="0" smtClean="0">
                  <a:solidFill>
                    <a:prstClr val="black"/>
                  </a:solidFill>
                  <a:latin typeface="Calibri"/>
                </a:rPr>
                <a:t>Digital way of guidance to worker using Augmented Reality</a:t>
              </a:r>
              <a:endParaRPr kumimoji="0" lang="en-US" sz="1500" b="1" i="0" u="none" strike="noStrike" kern="0" cap="none" spc="0" normalizeH="0" baseline="0" noProof="0" dirty="0" smtClean="0">
                <a:ln>
                  <a:noFill/>
                </a:ln>
                <a:solidFill>
                  <a:prstClr val="black"/>
                </a:solidFill>
                <a:effectLst/>
                <a:uLnTx/>
                <a:uFillTx/>
                <a:latin typeface="Calibri"/>
              </a:endParaRPr>
            </a:p>
          </p:txBody>
        </p:sp>
      </p:grpSp>
      <p:grpSp>
        <p:nvGrpSpPr>
          <p:cNvPr id="85" name="Group 84"/>
          <p:cNvGrpSpPr/>
          <p:nvPr/>
        </p:nvGrpSpPr>
        <p:grpSpPr>
          <a:xfrm>
            <a:off x="2141003" y="3429000"/>
            <a:ext cx="5877851" cy="572512"/>
            <a:chOff x="205963" y="1259422"/>
            <a:chExt cx="5908655" cy="761963"/>
          </a:xfrm>
        </p:grpSpPr>
        <p:grpSp>
          <p:nvGrpSpPr>
            <p:cNvPr id="87" name="Group 86"/>
            <p:cNvGrpSpPr/>
            <p:nvPr/>
          </p:nvGrpSpPr>
          <p:grpSpPr>
            <a:xfrm>
              <a:off x="205963" y="1259422"/>
              <a:ext cx="5908655" cy="761963"/>
              <a:chOff x="205963" y="1259422"/>
              <a:chExt cx="5908655" cy="761963"/>
            </a:xfrm>
          </p:grpSpPr>
          <p:sp>
            <p:nvSpPr>
              <p:cNvPr id="89" name="Rounded Rectangle 88"/>
              <p:cNvSpPr/>
              <p:nvPr/>
            </p:nvSpPr>
            <p:spPr>
              <a:xfrm>
                <a:off x="344039" y="1259422"/>
                <a:ext cx="5770579" cy="761963"/>
              </a:xfrm>
              <a:prstGeom prst="roundRect">
                <a:avLst>
                  <a:gd name="adj" fmla="val 40104"/>
                </a:avLst>
              </a:prstGeom>
              <a:noFill/>
              <a:ln w="25400" cap="flat" cmpd="sng" algn="ctr">
                <a:gradFill flip="none" rotWithShape="1">
                  <a:gsLst>
                    <a:gs pos="0">
                      <a:srgbClr val="BD67B9"/>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90" name="Oval 89"/>
              <p:cNvSpPr/>
              <p:nvPr/>
            </p:nvSpPr>
            <p:spPr>
              <a:xfrm>
                <a:off x="205963" y="1460468"/>
                <a:ext cx="377228" cy="373493"/>
              </a:xfrm>
              <a:prstGeom prst="ellipse">
                <a:avLst/>
              </a:prstGeom>
              <a:gradFill flip="none" rotWithShape="1">
                <a:gsLst>
                  <a:gs pos="75000">
                    <a:srgbClr val="BD67B9"/>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88" name="Rectangle 87"/>
            <p:cNvSpPr/>
            <p:nvPr/>
          </p:nvSpPr>
          <p:spPr>
            <a:xfrm>
              <a:off x="664176" y="1460468"/>
              <a:ext cx="5312684" cy="3231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latin typeface="Calibri"/>
                </a:rPr>
                <a:t>Reliable update from substation using IOT Sensors</a:t>
              </a:r>
            </a:p>
          </p:txBody>
        </p:sp>
      </p:grpSp>
      <p:grpSp>
        <p:nvGrpSpPr>
          <p:cNvPr id="91" name="Group 90"/>
          <p:cNvGrpSpPr/>
          <p:nvPr/>
        </p:nvGrpSpPr>
        <p:grpSpPr>
          <a:xfrm>
            <a:off x="2141003" y="4267200"/>
            <a:ext cx="5877851" cy="572512"/>
            <a:chOff x="205963" y="1259422"/>
            <a:chExt cx="5908655" cy="761963"/>
          </a:xfrm>
        </p:grpSpPr>
        <p:grpSp>
          <p:nvGrpSpPr>
            <p:cNvPr id="93" name="Group 92"/>
            <p:cNvGrpSpPr/>
            <p:nvPr/>
          </p:nvGrpSpPr>
          <p:grpSpPr>
            <a:xfrm>
              <a:off x="205963" y="1259422"/>
              <a:ext cx="5908655" cy="761963"/>
              <a:chOff x="205963" y="1259422"/>
              <a:chExt cx="5908655" cy="761963"/>
            </a:xfrm>
          </p:grpSpPr>
          <p:sp>
            <p:nvSpPr>
              <p:cNvPr id="95" name="Rounded Rectangle 94"/>
              <p:cNvSpPr/>
              <p:nvPr/>
            </p:nvSpPr>
            <p:spPr>
              <a:xfrm>
                <a:off x="344039" y="1259422"/>
                <a:ext cx="5770579" cy="761963"/>
              </a:xfrm>
              <a:prstGeom prst="roundRect">
                <a:avLst>
                  <a:gd name="adj" fmla="val 40104"/>
                </a:avLst>
              </a:prstGeom>
              <a:noFill/>
              <a:ln w="25400" cap="flat" cmpd="sng" algn="ctr">
                <a:gradFill flip="none" rotWithShape="1">
                  <a:gsLst>
                    <a:gs pos="0">
                      <a:srgbClr val="7B57A8"/>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96" name="Oval 95"/>
              <p:cNvSpPr/>
              <p:nvPr/>
            </p:nvSpPr>
            <p:spPr>
              <a:xfrm>
                <a:off x="205963" y="1460468"/>
                <a:ext cx="377228" cy="373493"/>
              </a:xfrm>
              <a:prstGeom prst="ellipse">
                <a:avLst/>
              </a:prstGeom>
              <a:gradFill flip="none" rotWithShape="1">
                <a:gsLst>
                  <a:gs pos="75000">
                    <a:srgbClr val="7B57A8"/>
                  </a:gs>
                  <a:gs pos="0">
                    <a:sysClr val="window" lastClr="FFFFFF"/>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94" name="Rectangle 93"/>
            <p:cNvSpPr/>
            <p:nvPr/>
          </p:nvSpPr>
          <p:spPr>
            <a:xfrm>
              <a:off x="598723" y="1360837"/>
              <a:ext cx="5312684" cy="553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b="1" kern="0" dirty="0" smtClean="0">
                  <a:solidFill>
                    <a:prstClr val="black"/>
                  </a:solidFill>
                  <a:latin typeface="Calibri"/>
                </a:rPr>
                <a:t>Learning of optimal running parameters and predicting the future efficiency</a:t>
              </a:r>
              <a:endParaRPr kumimoji="0" lang="en-US" sz="1500" b="1" i="0" u="none" strike="noStrike" kern="0" cap="none" spc="0" normalizeH="0" baseline="0" noProof="0" dirty="0" smtClean="0">
                <a:ln>
                  <a:noFill/>
                </a:ln>
                <a:solidFill>
                  <a:prstClr val="black"/>
                </a:solidFill>
                <a:effectLst/>
                <a:uLnTx/>
                <a:uFillTx/>
                <a:latin typeface="Calibri"/>
              </a:endParaRPr>
            </a:p>
          </p:txBody>
        </p:sp>
      </p:grpSp>
      <p:sp>
        <p:nvSpPr>
          <p:cNvPr id="46" name="Rectangle 5"/>
          <p:cNvSpPr/>
          <p:nvPr/>
        </p:nvSpPr>
        <p:spPr>
          <a:xfrm rot="5400000">
            <a:off x="8174008" y="4670440"/>
            <a:ext cx="955489" cy="1368210"/>
          </a:xfrm>
          <a:custGeom>
            <a:avLst/>
            <a:gdLst>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872209 w 1795780"/>
              <a:gd name="connsiteY0" fmla="*/ 3 h 2561350"/>
              <a:gd name="connsiteX1" fmla="*/ 1086522 w 1795780"/>
              <a:gd name="connsiteY1" fmla="*/ 286050 h 2561350"/>
              <a:gd name="connsiteX2" fmla="*/ 1064386 w 1795780"/>
              <a:gd name="connsiteY2" fmla="*/ 389002 h 2561350"/>
              <a:gd name="connsiteX3" fmla="*/ 1795780 w 1795780"/>
              <a:gd name="connsiteY3" fmla="*/ 389002 h 2561350"/>
              <a:gd name="connsiteX4" fmla="*/ 1795780 w 1795780"/>
              <a:gd name="connsiteY4" fmla="*/ 1063389 h 2561350"/>
              <a:gd name="connsiteX5" fmla="*/ 1706462 w 1795780"/>
              <a:gd name="connsiteY5" fmla="*/ 1037347 h 2561350"/>
              <a:gd name="connsiteX6" fmla="*/ 1704082 w 1795780"/>
              <a:gd name="connsiteY6" fmla="*/ 1487403 h 2561350"/>
              <a:gd name="connsiteX7" fmla="*/ 1795780 w 1795780"/>
              <a:gd name="connsiteY7" fmla="*/ 1449629 h 2561350"/>
              <a:gd name="connsiteX8" fmla="*/ 1795780 w 1795780"/>
              <a:gd name="connsiteY8" fmla="*/ 2167002 h 2561350"/>
              <a:gd name="connsiteX9" fmla="*/ 1066649 w 1795780"/>
              <a:gd name="connsiteY9" fmla="*/ 2167002 h 2561350"/>
              <a:gd name="connsiteX10" fmla="*/ 1086522 w 1795780"/>
              <a:gd name="connsiteY10" fmla="*/ 2275300 h 2561350"/>
              <a:gd name="connsiteX11" fmla="*/ 636466 w 1795780"/>
              <a:gd name="connsiteY11" fmla="*/ 2277680 h 2561350"/>
              <a:gd name="connsiteX12" fmla="*/ 666399 w 1795780"/>
              <a:gd name="connsiteY12" fmla="*/ 2167002 h 2561350"/>
              <a:gd name="connsiteX13" fmla="*/ 0 w 1795780"/>
              <a:gd name="connsiteY13" fmla="*/ 2167002 h 2561350"/>
              <a:gd name="connsiteX14" fmla="*/ 0 w 1795780"/>
              <a:gd name="connsiteY14" fmla="*/ 1458174 h 2561350"/>
              <a:gd name="connsiteX15" fmla="*/ 94999 w 1795780"/>
              <a:gd name="connsiteY15" fmla="*/ 1495354 h 2561350"/>
              <a:gd name="connsiteX16" fmla="*/ 92619 w 1795780"/>
              <a:gd name="connsiteY16" fmla="*/ 1045298 h 2561350"/>
              <a:gd name="connsiteX17" fmla="*/ 0 w 1795780"/>
              <a:gd name="connsiteY17" fmla="*/ 1071146 h 2561350"/>
              <a:gd name="connsiteX18" fmla="*/ 0 w 1795780"/>
              <a:gd name="connsiteY18" fmla="*/ 389002 h 2561350"/>
              <a:gd name="connsiteX19" fmla="*/ 671370 w 1795780"/>
              <a:gd name="connsiteY19" fmla="*/ 389002 h 2561350"/>
              <a:gd name="connsiteX20" fmla="*/ 636466 w 1795780"/>
              <a:gd name="connsiteY20" fmla="*/ 283670 h 2561350"/>
              <a:gd name="connsiteX21" fmla="*/ 872209 w 179578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42200"/>
              <a:gd name="connsiteY0" fmla="*/ 3 h 2561350"/>
              <a:gd name="connsiteX1" fmla="*/ 1132942 w 1842200"/>
              <a:gd name="connsiteY1" fmla="*/ 286050 h 2561350"/>
              <a:gd name="connsiteX2" fmla="*/ 1110806 w 1842200"/>
              <a:gd name="connsiteY2" fmla="*/ 389002 h 2561350"/>
              <a:gd name="connsiteX3" fmla="*/ 1842200 w 1842200"/>
              <a:gd name="connsiteY3" fmla="*/ 389002 h 2561350"/>
              <a:gd name="connsiteX4" fmla="*/ 1842200 w 1842200"/>
              <a:gd name="connsiteY4" fmla="*/ 1063389 h 2561350"/>
              <a:gd name="connsiteX5" fmla="*/ 1752882 w 1842200"/>
              <a:gd name="connsiteY5" fmla="*/ 1037347 h 2561350"/>
              <a:gd name="connsiteX6" fmla="*/ 1750502 w 1842200"/>
              <a:gd name="connsiteY6" fmla="*/ 1487403 h 2561350"/>
              <a:gd name="connsiteX7" fmla="*/ 1842200 w 1842200"/>
              <a:gd name="connsiteY7" fmla="*/ 1449629 h 2561350"/>
              <a:gd name="connsiteX8" fmla="*/ 1842200 w 1842200"/>
              <a:gd name="connsiteY8" fmla="*/ 2167002 h 2561350"/>
              <a:gd name="connsiteX9" fmla="*/ 1113069 w 1842200"/>
              <a:gd name="connsiteY9" fmla="*/ 2167002 h 2561350"/>
              <a:gd name="connsiteX10" fmla="*/ 1132942 w 1842200"/>
              <a:gd name="connsiteY10" fmla="*/ 2275300 h 2561350"/>
              <a:gd name="connsiteX11" fmla="*/ 682886 w 1842200"/>
              <a:gd name="connsiteY11" fmla="*/ 2277680 h 2561350"/>
              <a:gd name="connsiteX12" fmla="*/ 712819 w 1842200"/>
              <a:gd name="connsiteY12" fmla="*/ 2167002 h 2561350"/>
              <a:gd name="connsiteX13" fmla="*/ 46420 w 1842200"/>
              <a:gd name="connsiteY13" fmla="*/ 2167002 h 2561350"/>
              <a:gd name="connsiteX14" fmla="*/ 46420 w 1842200"/>
              <a:gd name="connsiteY14" fmla="*/ 1458174 h 2561350"/>
              <a:gd name="connsiteX15" fmla="*/ 141419 w 1842200"/>
              <a:gd name="connsiteY15" fmla="*/ 1495354 h 2561350"/>
              <a:gd name="connsiteX16" fmla="*/ 139039 w 1842200"/>
              <a:gd name="connsiteY16" fmla="*/ 1045298 h 2561350"/>
              <a:gd name="connsiteX17" fmla="*/ 46420 w 1842200"/>
              <a:gd name="connsiteY17" fmla="*/ 1071146 h 2561350"/>
              <a:gd name="connsiteX18" fmla="*/ 0 w 1842200"/>
              <a:gd name="connsiteY18" fmla="*/ 382371 h 2561350"/>
              <a:gd name="connsiteX19" fmla="*/ 717790 w 1842200"/>
              <a:gd name="connsiteY19" fmla="*/ 389002 h 2561350"/>
              <a:gd name="connsiteX20" fmla="*/ 682886 w 1842200"/>
              <a:gd name="connsiteY20" fmla="*/ 283670 h 2561350"/>
              <a:gd name="connsiteX21" fmla="*/ 918629 w 1842200"/>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862094"/>
              <a:gd name="connsiteY0" fmla="*/ 3 h 2561350"/>
              <a:gd name="connsiteX1" fmla="*/ 1132942 w 1862094"/>
              <a:gd name="connsiteY1" fmla="*/ 286050 h 2561350"/>
              <a:gd name="connsiteX2" fmla="*/ 1110806 w 1862094"/>
              <a:gd name="connsiteY2" fmla="*/ 389002 h 2561350"/>
              <a:gd name="connsiteX3" fmla="*/ 1862094 w 1862094"/>
              <a:gd name="connsiteY3" fmla="*/ 369108 h 2561350"/>
              <a:gd name="connsiteX4" fmla="*/ 1842200 w 1862094"/>
              <a:gd name="connsiteY4" fmla="*/ 1063389 h 2561350"/>
              <a:gd name="connsiteX5" fmla="*/ 1752882 w 1862094"/>
              <a:gd name="connsiteY5" fmla="*/ 1037347 h 2561350"/>
              <a:gd name="connsiteX6" fmla="*/ 1750502 w 1862094"/>
              <a:gd name="connsiteY6" fmla="*/ 1487403 h 2561350"/>
              <a:gd name="connsiteX7" fmla="*/ 1842200 w 1862094"/>
              <a:gd name="connsiteY7" fmla="*/ 1449629 h 2561350"/>
              <a:gd name="connsiteX8" fmla="*/ 1842200 w 1862094"/>
              <a:gd name="connsiteY8" fmla="*/ 2167002 h 2561350"/>
              <a:gd name="connsiteX9" fmla="*/ 1113069 w 1862094"/>
              <a:gd name="connsiteY9" fmla="*/ 2167002 h 2561350"/>
              <a:gd name="connsiteX10" fmla="*/ 1132942 w 1862094"/>
              <a:gd name="connsiteY10" fmla="*/ 2275300 h 2561350"/>
              <a:gd name="connsiteX11" fmla="*/ 682886 w 1862094"/>
              <a:gd name="connsiteY11" fmla="*/ 2277680 h 2561350"/>
              <a:gd name="connsiteX12" fmla="*/ 712819 w 1862094"/>
              <a:gd name="connsiteY12" fmla="*/ 2167002 h 2561350"/>
              <a:gd name="connsiteX13" fmla="*/ 46420 w 1862094"/>
              <a:gd name="connsiteY13" fmla="*/ 2167002 h 2561350"/>
              <a:gd name="connsiteX14" fmla="*/ 46420 w 1862094"/>
              <a:gd name="connsiteY14" fmla="*/ 1458174 h 2561350"/>
              <a:gd name="connsiteX15" fmla="*/ 141419 w 1862094"/>
              <a:gd name="connsiteY15" fmla="*/ 1495354 h 2561350"/>
              <a:gd name="connsiteX16" fmla="*/ 139039 w 1862094"/>
              <a:gd name="connsiteY16" fmla="*/ 1045298 h 2561350"/>
              <a:gd name="connsiteX17" fmla="*/ 46420 w 1862094"/>
              <a:gd name="connsiteY17" fmla="*/ 1071146 h 2561350"/>
              <a:gd name="connsiteX18" fmla="*/ 0 w 1862094"/>
              <a:gd name="connsiteY18" fmla="*/ 382371 h 2561350"/>
              <a:gd name="connsiteX19" fmla="*/ 717790 w 1862094"/>
              <a:gd name="connsiteY19" fmla="*/ 389002 h 2561350"/>
              <a:gd name="connsiteX20" fmla="*/ 682886 w 1862094"/>
              <a:gd name="connsiteY20" fmla="*/ 283670 h 2561350"/>
              <a:gd name="connsiteX21" fmla="*/ 918629 w 1862094"/>
              <a:gd name="connsiteY21" fmla="*/ 3 h 2561350"/>
              <a:gd name="connsiteX0" fmla="*/ 918629 w 1949187"/>
              <a:gd name="connsiteY0" fmla="*/ 3 h 2561350"/>
              <a:gd name="connsiteX1" fmla="*/ 1132942 w 1949187"/>
              <a:gd name="connsiteY1" fmla="*/ 286050 h 2561350"/>
              <a:gd name="connsiteX2" fmla="*/ 1110806 w 1949187"/>
              <a:gd name="connsiteY2" fmla="*/ 389002 h 2561350"/>
              <a:gd name="connsiteX3" fmla="*/ 1862094 w 1949187"/>
              <a:gd name="connsiteY3" fmla="*/ 369108 h 2561350"/>
              <a:gd name="connsiteX4" fmla="*/ 1842200 w 1949187"/>
              <a:gd name="connsiteY4" fmla="*/ 1063389 h 2561350"/>
              <a:gd name="connsiteX5" fmla="*/ 1752882 w 1949187"/>
              <a:gd name="connsiteY5" fmla="*/ 1037347 h 2561350"/>
              <a:gd name="connsiteX6" fmla="*/ 1750502 w 1949187"/>
              <a:gd name="connsiteY6" fmla="*/ 1487403 h 2561350"/>
              <a:gd name="connsiteX7" fmla="*/ 1842200 w 1949187"/>
              <a:gd name="connsiteY7" fmla="*/ 1449629 h 2561350"/>
              <a:gd name="connsiteX8" fmla="*/ 1842200 w 1949187"/>
              <a:gd name="connsiteY8" fmla="*/ 2167002 h 2561350"/>
              <a:gd name="connsiteX9" fmla="*/ 1113069 w 1949187"/>
              <a:gd name="connsiteY9" fmla="*/ 2167002 h 2561350"/>
              <a:gd name="connsiteX10" fmla="*/ 1132942 w 1949187"/>
              <a:gd name="connsiteY10" fmla="*/ 2275300 h 2561350"/>
              <a:gd name="connsiteX11" fmla="*/ 682886 w 1949187"/>
              <a:gd name="connsiteY11" fmla="*/ 2277680 h 2561350"/>
              <a:gd name="connsiteX12" fmla="*/ 712819 w 1949187"/>
              <a:gd name="connsiteY12" fmla="*/ 2167002 h 2561350"/>
              <a:gd name="connsiteX13" fmla="*/ 46420 w 1949187"/>
              <a:gd name="connsiteY13" fmla="*/ 2167002 h 2561350"/>
              <a:gd name="connsiteX14" fmla="*/ 46420 w 1949187"/>
              <a:gd name="connsiteY14" fmla="*/ 1458174 h 2561350"/>
              <a:gd name="connsiteX15" fmla="*/ 141419 w 1949187"/>
              <a:gd name="connsiteY15" fmla="*/ 1495354 h 2561350"/>
              <a:gd name="connsiteX16" fmla="*/ 139039 w 1949187"/>
              <a:gd name="connsiteY16" fmla="*/ 1045298 h 2561350"/>
              <a:gd name="connsiteX17" fmla="*/ 46420 w 1949187"/>
              <a:gd name="connsiteY17" fmla="*/ 1071146 h 2561350"/>
              <a:gd name="connsiteX18" fmla="*/ 0 w 1949187"/>
              <a:gd name="connsiteY18" fmla="*/ 382371 h 2561350"/>
              <a:gd name="connsiteX19" fmla="*/ 717790 w 1949187"/>
              <a:gd name="connsiteY19" fmla="*/ 389002 h 2561350"/>
              <a:gd name="connsiteX20" fmla="*/ 682886 w 1949187"/>
              <a:gd name="connsiteY20" fmla="*/ 283670 h 2561350"/>
              <a:gd name="connsiteX21" fmla="*/ 918629 w 1949187"/>
              <a:gd name="connsiteY21" fmla="*/ 3 h 2561350"/>
              <a:gd name="connsiteX0" fmla="*/ 918629 w 1966660"/>
              <a:gd name="connsiteY0" fmla="*/ 3 h 2561350"/>
              <a:gd name="connsiteX1" fmla="*/ 1132942 w 1966660"/>
              <a:gd name="connsiteY1" fmla="*/ 286050 h 2561350"/>
              <a:gd name="connsiteX2" fmla="*/ 1110806 w 1966660"/>
              <a:gd name="connsiteY2" fmla="*/ 389002 h 2561350"/>
              <a:gd name="connsiteX3" fmla="*/ 1862094 w 1966660"/>
              <a:gd name="connsiteY3" fmla="*/ 369108 h 2561350"/>
              <a:gd name="connsiteX4" fmla="*/ 1842200 w 1966660"/>
              <a:gd name="connsiteY4" fmla="*/ 1063389 h 2561350"/>
              <a:gd name="connsiteX5" fmla="*/ 1752882 w 1966660"/>
              <a:gd name="connsiteY5" fmla="*/ 1037347 h 2561350"/>
              <a:gd name="connsiteX6" fmla="*/ 1750502 w 1966660"/>
              <a:gd name="connsiteY6" fmla="*/ 1487403 h 2561350"/>
              <a:gd name="connsiteX7" fmla="*/ 1842200 w 1966660"/>
              <a:gd name="connsiteY7" fmla="*/ 1449629 h 2561350"/>
              <a:gd name="connsiteX8" fmla="*/ 1842200 w 1966660"/>
              <a:gd name="connsiteY8" fmla="*/ 2167002 h 2561350"/>
              <a:gd name="connsiteX9" fmla="*/ 1113069 w 1966660"/>
              <a:gd name="connsiteY9" fmla="*/ 2167002 h 2561350"/>
              <a:gd name="connsiteX10" fmla="*/ 1132942 w 1966660"/>
              <a:gd name="connsiteY10" fmla="*/ 2275300 h 2561350"/>
              <a:gd name="connsiteX11" fmla="*/ 682886 w 1966660"/>
              <a:gd name="connsiteY11" fmla="*/ 2277680 h 2561350"/>
              <a:gd name="connsiteX12" fmla="*/ 712819 w 1966660"/>
              <a:gd name="connsiteY12" fmla="*/ 2167002 h 2561350"/>
              <a:gd name="connsiteX13" fmla="*/ 46420 w 1966660"/>
              <a:gd name="connsiteY13" fmla="*/ 2167002 h 2561350"/>
              <a:gd name="connsiteX14" fmla="*/ 46420 w 1966660"/>
              <a:gd name="connsiteY14" fmla="*/ 1458174 h 2561350"/>
              <a:gd name="connsiteX15" fmla="*/ 141419 w 1966660"/>
              <a:gd name="connsiteY15" fmla="*/ 1495354 h 2561350"/>
              <a:gd name="connsiteX16" fmla="*/ 139039 w 1966660"/>
              <a:gd name="connsiteY16" fmla="*/ 1045298 h 2561350"/>
              <a:gd name="connsiteX17" fmla="*/ 46420 w 1966660"/>
              <a:gd name="connsiteY17" fmla="*/ 1071146 h 2561350"/>
              <a:gd name="connsiteX18" fmla="*/ 0 w 1966660"/>
              <a:gd name="connsiteY18" fmla="*/ 382371 h 2561350"/>
              <a:gd name="connsiteX19" fmla="*/ 717790 w 1966660"/>
              <a:gd name="connsiteY19" fmla="*/ 389002 h 2561350"/>
              <a:gd name="connsiteX20" fmla="*/ 682886 w 1966660"/>
              <a:gd name="connsiteY20" fmla="*/ 283670 h 2561350"/>
              <a:gd name="connsiteX21" fmla="*/ 918629 w 1966660"/>
              <a:gd name="connsiteY21" fmla="*/ 3 h 2561350"/>
              <a:gd name="connsiteX0" fmla="*/ 1023861 w 2071892"/>
              <a:gd name="connsiteY0" fmla="*/ 3 h 2561350"/>
              <a:gd name="connsiteX1" fmla="*/ 1238174 w 2071892"/>
              <a:gd name="connsiteY1" fmla="*/ 286050 h 2561350"/>
              <a:gd name="connsiteX2" fmla="*/ 1216038 w 2071892"/>
              <a:gd name="connsiteY2" fmla="*/ 389002 h 2561350"/>
              <a:gd name="connsiteX3" fmla="*/ 1967326 w 2071892"/>
              <a:gd name="connsiteY3" fmla="*/ 369108 h 2561350"/>
              <a:gd name="connsiteX4" fmla="*/ 1947432 w 2071892"/>
              <a:gd name="connsiteY4" fmla="*/ 1063389 h 2561350"/>
              <a:gd name="connsiteX5" fmla="*/ 1858114 w 2071892"/>
              <a:gd name="connsiteY5" fmla="*/ 1037347 h 2561350"/>
              <a:gd name="connsiteX6" fmla="*/ 1855734 w 2071892"/>
              <a:gd name="connsiteY6" fmla="*/ 1487403 h 2561350"/>
              <a:gd name="connsiteX7" fmla="*/ 1947432 w 2071892"/>
              <a:gd name="connsiteY7" fmla="*/ 1449629 h 2561350"/>
              <a:gd name="connsiteX8" fmla="*/ 1947432 w 2071892"/>
              <a:gd name="connsiteY8" fmla="*/ 2167002 h 2561350"/>
              <a:gd name="connsiteX9" fmla="*/ 1218301 w 2071892"/>
              <a:gd name="connsiteY9" fmla="*/ 2167002 h 2561350"/>
              <a:gd name="connsiteX10" fmla="*/ 1238174 w 2071892"/>
              <a:gd name="connsiteY10" fmla="*/ 2275300 h 2561350"/>
              <a:gd name="connsiteX11" fmla="*/ 788118 w 2071892"/>
              <a:gd name="connsiteY11" fmla="*/ 2277680 h 2561350"/>
              <a:gd name="connsiteX12" fmla="*/ 818051 w 2071892"/>
              <a:gd name="connsiteY12" fmla="*/ 2167002 h 2561350"/>
              <a:gd name="connsiteX13" fmla="*/ 151652 w 2071892"/>
              <a:gd name="connsiteY13" fmla="*/ 2167002 h 2561350"/>
              <a:gd name="connsiteX14" fmla="*/ 151652 w 2071892"/>
              <a:gd name="connsiteY14" fmla="*/ 1458174 h 2561350"/>
              <a:gd name="connsiteX15" fmla="*/ 246651 w 2071892"/>
              <a:gd name="connsiteY15" fmla="*/ 1495354 h 2561350"/>
              <a:gd name="connsiteX16" fmla="*/ 244271 w 2071892"/>
              <a:gd name="connsiteY16" fmla="*/ 1045298 h 2561350"/>
              <a:gd name="connsiteX17" fmla="*/ 151652 w 2071892"/>
              <a:gd name="connsiteY17" fmla="*/ 1071146 h 2561350"/>
              <a:gd name="connsiteX18" fmla="*/ 105232 w 2071892"/>
              <a:gd name="connsiteY18" fmla="*/ 382371 h 2561350"/>
              <a:gd name="connsiteX19" fmla="*/ 823022 w 2071892"/>
              <a:gd name="connsiteY19" fmla="*/ 389002 h 2561350"/>
              <a:gd name="connsiteX20" fmla="*/ 788118 w 2071892"/>
              <a:gd name="connsiteY20" fmla="*/ 283670 h 2561350"/>
              <a:gd name="connsiteX21" fmla="*/ 1023861 w 2071892"/>
              <a:gd name="connsiteY21" fmla="*/ 3 h 2561350"/>
              <a:gd name="connsiteX0" fmla="*/ 1039756 w 2087787"/>
              <a:gd name="connsiteY0" fmla="*/ 3 h 2561350"/>
              <a:gd name="connsiteX1" fmla="*/ 1254069 w 2087787"/>
              <a:gd name="connsiteY1" fmla="*/ 286050 h 2561350"/>
              <a:gd name="connsiteX2" fmla="*/ 1231933 w 2087787"/>
              <a:gd name="connsiteY2" fmla="*/ 389002 h 2561350"/>
              <a:gd name="connsiteX3" fmla="*/ 1983221 w 2087787"/>
              <a:gd name="connsiteY3" fmla="*/ 369108 h 2561350"/>
              <a:gd name="connsiteX4" fmla="*/ 1963327 w 2087787"/>
              <a:gd name="connsiteY4" fmla="*/ 1063389 h 2561350"/>
              <a:gd name="connsiteX5" fmla="*/ 1874009 w 2087787"/>
              <a:gd name="connsiteY5" fmla="*/ 1037347 h 2561350"/>
              <a:gd name="connsiteX6" fmla="*/ 1871629 w 2087787"/>
              <a:gd name="connsiteY6" fmla="*/ 1487403 h 2561350"/>
              <a:gd name="connsiteX7" fmla="*/ 1963327 w 2087787"/>
              <a:gd name="connsiteY7" fmla="*/ 1449629 h 2561350"/>
              <a:gd name="connsiteX8" fmla="*/ 1963327 w 2087787"/>
              <a:gd name="connsiteY8" fmla="*/ 2167002 h 2561350"/>
              <a:gd name="connsiteX9" fmla="*/ 1234196 w 2087787"/>
              <a:gd name="connsiteY9" fmla="*/ 2167002 h 2561350"/>
              <a:gd name="connsiteX10" fmla="*/ 1254069 w 2087787"/>
              <a:gd name="connsiteY10" fmla="*/ 2275300 h 2561350"/>
              <a:gd name="connsiteX11" fmla="*/ 804013 w 2087787"/>
              <a:gd name="connsiteY11" fmla="*/ 2277680 h 2561350"/>
              <a:gd name="connsiteX12" fmla="*/ 833946 w 2087787"/>
              <a:gd name="connsiteY12" fmla="*/ 2167002 h 2561350"/>
              <a:gd name="connsiteX13" fmla="*/ 167547 w 2087787"/>
              <a:gd name="connsiteY13" fmla="*/ 2167002 h 2561350"/>
              <a:gd name="connsiteX14" fmla="*/ 167547 w 2087787"/>
              <a:gd name="connsiteY14" fmla="*/ 1458174 h 2561350"/>
              <a:gd name="connsiteX15" fmla="*/ 262546 w 2087787"/>
              <a:gd name="connsiteY15" fmla="*/ 1495354 h 2561350"/>
              <a:gd name="connsiteX16" fmla="*/ 260166 w 2087787"/>
              <a:gd name="connsiteY16" fmla="*/ 1045298 h 2561350"/>
              <a:gd name="connsiteX17" fmla="*/ 167547 w 2087787"/>
              <a:gd name="connsiteY17" fmla="*/ 1071146 h 2561350"/>
              <a:gd name="connsiteX18" fmla="*/ 121127 w 2087787"/>
              <a:gd name="connsiteY18" fmla="*/ 382371 h 2561350"/>
              <a:gd name="connsiteX19" fmla="*/ 838917 w 2087787"/>
              <a:gd name="connsiteY19" fmla="*/ 389002 h 2561350"/>
              <a:gd name="connsiteX20" fmla="*/ 804013 w 2087787"/>
              <a:gd name="connsiteY20" fmla="*/ 283670 h 2561350"/>
              <a:gd name="connsiteX21" fmla="*/ 1039756 w 2087787"/>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88885"/>
              <a:gd name="connsiteY0" fmla="*/ 3 h 2561350"/>
              <a:gd name="connsiteX1" fmla="*/ 1239747 w 2088885"/>
              <a:gd name="connsiteY1" fmla="*/ 286050 h 2561350"/>
              <a:gd name="connsiteX2" fmla="*/ 1217611 w 2088885"/>
              <a:gd name="connsiteY2" fmla="*/ 389002 h 2561350"/>
              <a:gd name="connsiteX3" fmla="*/ 1968899 w 2088885"/>
              <a:gd name="connsiteY3" fmla="*/ 369108 h 2561350"/>
              <a:gd name="connsiteX4" fmla="*/ 1949005 w 2088885"/>
              <a:gd name="connsiteY4" fmla="*/ 1063389 h 2561350"/>
              <a:gd name="connsiteX5" fmla="*/ 1859687 w 2088885"/>
              <a:gd name="connsiteY5" fmla="*/ 1037347 h 2561350"/>
              <a:gd name="connsiteX6" fmla="*/ 1857307 w 2088885"/>
              <a:gd name="connsiteY6" fmla="*/ 1487403 h 2561350"/>
              <a:gd name="connsiteX7" fmla="*/ 1949005 w 2088885"/>
              <a:gd name="connsiteY7" fmla="*/ 1449629 h 2561350"/>
              <a:gd name="connsiteX8" fmla="*/ 1949005 w 2088885"/>
              <a:gd name="connsiteY8" fmla="*/ 2167002 h 2561350"/>
              <a:gd name="connsiteX9" fmla="*/ 1219874 w 2088885"/>
              <a:gd name="connsiteY9" fmla="*/ 2167002 h 2561350"/>
              <a:gd name="connsiteX10" fmla="*/ 1239747 w 2088885"/>
              <a:gd name="connsiteY10" fmla="*/ 2275300 h 2561350"/>
              <a:gd name="connsiteX11" fmla="*/ 789691 w 2088885"/>
              <a:gd name="connsiteY11" fmla="*/ 2277680 h 2561350"/>
              <a:gd name="connsiteX12" fmla="*/ 819624 w 2088885"/>
              <a:gd name="connsiteY12" fmla="*/ 2167002 h 2561350"/>
              <a:gd name="connsiteX13" fmla="*/ 153225 w 2088885"/>
              <a:gd name="connsiteY13" fmla="*/ 2167002 h 2561350"/>
              <a:gd name="connsiteX14" fmla="*/ 153225 w 2088885"/>
              <a:gd name="connsiteY14" fmla="*/ 1458174 h 2561350"/>
              <a:gd name="connsiteX15" fmla="*/ 248224 w 2088885"/>
              <a:gd name="connsiteY15" fmla="*/ 1495354 h 2561350"/>
              <a:gd name="connsiteX16" fmla="*/ 245844 w 2088885"/>
              <a:gd name="connsiteY16" fmla="*/ 1045298 h 2561350"/>
              <a:gd name="connsiteX17" fmla="*/ 153225 w 2088885"/>
              <a:gd name="connsiteY17" fmla="*/ 1071146 h 2561350"/>
              <a:gd name="connsiteX18" fmla="*/ 106805 w 2088885"/>
              <a:gd name="connsiteY18" fmla="*/ 382371 h 2561350"/>
              <a:gd name="connsiteX19" fmla="*/ 824595 w 2088885"/>
              <a:gd name="connsiteY19" fmla="*/ 389002 h 2561350"/>
              <a:gd name="connsiteX20" fmla="*/ 789691 w 2088885"/>
              <a:gd name="connsiteY20" fmla="*/ 283670 h 2561350"/>
              <a:gd name="connsiteX21" fmla="*/ 1025434 w 208888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073465"/>
              <a:gd name="connsiteY0" fmla="*/ 3 h 2561350"/>
              <a:gd name="connsiteX1" fmla="*/ 1239747 w 2073465"/>
              <a:gd name="connsiteY1" fmla="*/ 286050 h 2561350"/>
              <a:gd name="connsiteX2" fmla="*/ 1217611 w 2073465"/>
              <a:gd name="connsiteY2" fmla="*/ 389002 h 2561350"/>
              <a:gd name="connsiteX3" fmla="*/ 1968899 w 2073465"/>
              <a:gd name="connsiteY3" fmla="*/ 369108 h 2561350"/>
              <a:gd name="connsiteX4" fmla="*/ 1949005 w 2073465"/>
              <a:gd name="connsiteY4" fmla="*/ 1063389 h 2561350"/>
              <a:gd name="connsiteX5" fmla="*/ 1859687 w 2073465"/>
              <a:gd name="connsiteY5" fmla="*/ 1037347 h 2561350"/>
              <a:gd name="connsiteX6" fmla="*/ 1857307 w 2073465"/>
              <a:gd name="connsiteY6" fmla="*/ 1487403 h 2561350"/>
              <a:gd name="connsiteX7" fmla="*/ 1949005 w 2073465"/>
              <a:gd name="connsiteY7" fmla="*/ 1449629 h 2561350"/>
              <a:gd name="connsiteX8" fmla="*/ 1949005 w 2073465"/>
              <a:gd name="connsiteY8" fmla="*/ 2167002 h 2561350"/>
              <a:gd name="connsiteX9" fmla="*/ 1219874 w 2073465"/>
              <a:gd name="connsiteY9" fmla="*/ 2167002 h 2561350"/>
              <a:gd name="connsiteX10" fmla="*/ 1239747 w 2073465"/>
              <a:gd name="connsiteY10" fmla="*/ 2275300 h 2561350"/>
              <a:gd name="connsiteX11" fmla="*/ 789691 w 2073465"/>
              <a:gd name="connsiteY11" fmla="*/ 2277680 h 2561350"/>
              <a:gd name="connsiteX12" fmla="*/ 819624 w 2073465"/>
              <a:gd name="connsiteY12" fmla="*/ 2167002 h 2561350"/>
              <a:gd name="connsiteX13" fmla="*/ 153225 w 2073465"/>
              <a:gd name="connsiteY13" fmla="*/ 2167002 h 2561350"/>
              <a:gd name="connsiteX14" fmla="*/ 153225 w 2073465"/>
              <a:gd name="connsiteY14" fmla="*/ 1458174 h 2561350"/>
              <a:gd name="connsiteX15" fmla="*/ 248224 w 2073465"/>
              <a:gd name="connsiteY15" fmla="*/ 1495354 h 2561350"/>
              <a:gd name="connsiteX16" fmla="*/ 245844 w 2073465"/>
              <a:gd name="connsiteY16" fmla="*/ 1045298 h 2561350"/>
              <a:gd name="connsiteX17" fmla="*/ 153225 w 2073465"/>
              <a:gd name="connsiteY17" fmla="*/ 1071146 h 2561350"/>
              <a:gd name="connsiteX18" fmla="*/ 106805 w 2073465"/>
              <a:gd name="connsiteY18" fmla="*/ 382371 h 2561350"/>
              <a:gd name="connsiteX19" fmla="*/ 824595 w 2073465"/>
              <a:gd name="connsiteY19" fmla="*/ 389002 h 2561350"/>
              <a:gd name="connsiteX20" fmla="*/ 789691 w 2073465"/>
              <a:gd name="connsiteY20" fmla="*/ 283670 h 2561350"/>
              <a:gd name="connsiteX21" fmla="*/ 1025434 w 2073465"/>
              <a:gd name="connsiteY21" fmla="*/ 3 h 2561350"/>
              <a:gd name="connsiteX0" fmla="*/ 1025434 w 2102756"/>
              <a:gd name="connsiteY0" fmla="*/ 3 h 2561350"/>
              <a:gd name="connsiteX1" fmla="*/ 1239747 w 2102756"/>
              <a:gd name="connsiteY1" fmla="*/ 286050 h 2561350"/>
              <a:gd name="connsiteX2" fmla="*/ 1217611 w 2102756"/>
              <a:gd name="connsiteY2" fmla="*/ 389002 h 2561350"/>
              <a:gd name="connsiteX3" fmla="*/ 1968899 w 2102756"/>
              <a:gd name="connsiteY3" fmla="*/ 369108 h 2561350"/>
              <a:gd name="connsiteX4" fmla="*/ 1949005 w 2102756"/>
              <a:gd name="connsiteY4" fmla="*/ 1063389 h 2561350"/>
              <a:gd name="connsiteX5" fmla="*/ 1859687 w 2102756"/>
              <a:gd name="connsiteY5" fmla="*/ 1037347 h 2561350"/>
              <a:gd name="connsiteX6" fmla="*/ 1857307 w 2102756"/>
              <a:gd name="connsiteY6" fmla="*/ 1487403 h 2561350"/>
              <a:gd name="connsiteX7" fmla="*/ 1995425 w 2102756"/>
              <a:gd name="connsiteY7" fmla="*/ 1456260 h 2561350"/>
              <a:gd name="connsiteX8" fmla="*/ 1949005 w 2102756"/>
              <a:gd name="connsiteY8" fmla="*/ 2167002 h 2561350"/>
              <a:gd name="connsiteX9" fmla="*/ 1219874 w 2102756"/>
              <a:gd name="connsiteY9" fmla="*/ 2167002 h 2561350"/>
              <a:gd name="connsiteX10" fmla="*/ 1239747 w 2102756"/>
              <a:gd name="connsiteY10" fmla="*/ 2275300 h 2561350"/>
              <a:gd name="connsiteX11" fmla="*/ 789691 w 2102756"/>
              <a:gd name="connsiteY11" fmla="*/ 2277680 h 2561350"/>
              <a:gd name="connsiteX12" fmla="*/ 819624 w 2102756"/>
              <a:gd name="connsiteY12" fmla="*/ 2167002 h 2561350"/>
              <a:gd name="connsiteX13" fmla="*/ 153225 w 2102756"/>
              <a:gd name="connsiteY13" fmla="*/ 2167002 h 2561350"/>
              <a:gd name="connsiteX14" fmla="*/ 153225 w 2102756"/>
              <a:gd name="connsiteY14" fmla="*/ 1458174 h 2561350"/>
              <a:gd name="connsiteX15" fmla="*/ 248224 w 2102756"/>
              <a:gd name="connsiteY15" fmla="*/ 1495354 h 2561350"/>
              <a:gd name="connsiteX16" fmla="*/ 245844 w 2102756"/>
              <a:gd name="connsiteY16" fmla="*/ 1045298 h 2561350"/>
              <a:gd name="connsiteX17" fmla="*/ 153225 w 2102756"/>
              <a:gd name="connsiteY17" fmla="*/ 1071146 h 2561350"/>
              <a:gd name="connsiteX18" fmla="*/ 106805 w 2102756"/>
              <a:gd name="connsiteY18" fmla="*/ 382371 h 2561350"/>
              <a:gd name="connsiteX19" fmla="*/ 824595 w 2102756"/>
              <a:gd name="connsiteY19" fmla="*/ 389002 h 2561350"/>
              <a:gd name="connsiteX20" fmla="*/ 789691 w 2102756"/>
              <a:gd name="connsiteY20" fmla="*/ 283670 h 2561350"/>
              <a:gd name="connsiteX21" fmla="*/ 1025434 w 2102756"/>
              <a:gd name="connsiteY21" fmla="*/ 3 h 2561350"/>
              <a:gd name="connsiteX0" fmla="*/ 1025434 w 2076232"/>
              <a:gd name="connsiteY0" fmla="*/ 3 h 2561350"/>
              <a:gd name="connsiteX1" fmla="*/ 1239747 w 2076232"/>
              <a:gd name="connsiteY1" fmla="*/ 286050 h 2561350"/>
              <a:gd name="connsiteX2" fmla="*/ 1217611 w 2076232"/>
              <a:gd name="connsiteY2" fmla="*/ 389002 h 2561350"/>
              <a:gd name="connsiteX3" fmla="*/ 1968899 w 2076232"/>
              <a:gd name="connsiteY3" fmla="*/ 369108 h 2561350"/>
              <a:gd name="connsiteX4" fmla="*/ 1949005 w 2076232"/>
              <a:gd name="connsiteY4" fmla="*/ 1063389 h 2561350"/>
              <a:gd name="connsiteX5" fmla="*/ 1859687 w 2076232"/>
              <a:gd name="connsiteY5" fmla="*/ 1037347 h 2561350"/>
              <a:gd name="connsiteX6" fmla="*/ 1857307 w 2076232"/>
              <a:gd name="connsiteY6" fmla="*/ 1487403 h 2561350"/>
              <a:gd name="connsiteX7" fmla="*/ 1995425 w 2076232"/>
              <a:gd name="connsiteY7" fmla="*/ 1456260 h 2561350"/>
              <a:gd name="connsiteX8" fmla="*/ 1949005 w 2076232"/>
              <a:gd name="connsiteY8" fmla="*/ 2167002 h 2561350"/>
              <a:gd name="connsiteX9" fmla="*/ 1219874 w 2076232"/>
              <a:gd name="connsiteY9" fmla="*/ 2167002 h 2561350"/>
              <a:gd name="connsiteX10" fmla="*/ 1239747 w 2076232"/>
              <a:gd name="connsiteY10" fmla="*/ 2275300 h 2561350"/>
              <a:gd name="connsiteX11" fmla="*/ 789691 w 2076232"/>
              <a:gd name="connsiteY11" fmla="*/ 2277680 h 2561350"/>
              <a:gd name="connsiteX12" fmla="*/ 819624 w 2076232"/>
              <a:gd name="connsiteY12" fmla="*/ 2167002 h 2561350"/>
              <a:gd name="connsiteX13" fmla="*/ 153225 w 2076232"/>
              <a:gd name="connsiteY13" fmla="*/ 2167002 h 2561350"/>
              <a:gd name="connsiteX14" fmla="*/ 153225 w 2076232"/>
              <a:gd name="connsiteY14" fmla="*/ 1458174 h 2561350"/>
              <a:gd name="connsiteX15" fmla="*/ 248224 w 2076232"/>
              <a:gd name="connsiteY15" fmla="*/ 1495354 h 2561350"/>
              <a:gd name="connsiteX16" fmla="*/ 245844 w 2076232"/>
              <a:gd name="connsiteY16" fmla="*/ 1045298 h 2561350"/>
              <a:gd name="connsiteX17" fmla="*/ 153225 w 2076232"/>
              <a:gd name="connsiteY17" fmla="*/ 1071146 h 2561350"/>
              <a:gd name="connsiteX18" fmla="*/ 106805 w 2076232"/>
              <a:gd name="connsiteY18" fmla="*/ 382371 h 2561350"/>
              <a:gd name="connsiteX19" fmla="*/ 824595 w 2076232"/>
              <a:gd name="connsiteY19" fmla="*/ 389002 h 2561350"/>
              <a:gd name="connsiteX20" fmla="*/ 789691 w 2076232"/>
              <a:gd name="connsiteY20" fmla="*/ 283670 h 2561350"/>
              <a:gd name="connsiteX21" fmla="*/ 1025434 w 2076232"/>
              <a:gd name="connsiteY21" fmla="*/ 3 h 2561350"/>
              <a:gd name="connsiteX0" fmla="*/ 1025434 w 2077711"/>
              <a:gd name="connsiteY0" fmla="*/ 3 h 2561350"/>
              <a:gd name="connsiteX1" fmla="*/ 1239747 w 2077711"/>
              <a:gd name="connsiteY1" fmla="*/ 286050 h 2561350"/>
              <a:gd name="connsiteX2" fmla="*/ 1217611 w 2077711"/>
              <a:gd name="connsiteY2" fmla="*/ 389002 h 2561350"/>
              <a:gd name="connsiteX3" fmla="*/ 1968899 w 2077711"/>
              <a:gd name="connsiteY3" fmla="*/ 369108 h 2561350"/>
              <a:gd name="connsiteX4" fmla="*/ 1949005 w 2077711"/>
              <a:gd name="connsiteY4" fmla="*/ 1063389 h 2561350"/>
              <a:gd name="connsiteX5" fmla="*/ 1859687 w 2077711"/>
              <a:gd name="connsiteY5" fmla="*/ 1037347 h 2561350"/>
              <a:gd name="connsiteX6" fmla="*/ 1857307 w 2077711"/>
              <a:gd name="connsiteY6" fmla="*/ 1487403 h 2561350"/>
              <a:gd name="connsiteX7" fmla="*/ 1995425 w 2077711"/>
              <a:gd name="connsiteY7" fmla="*/ 1456260 h 2561350"/>
              <a:gd name="connsiteX8" fmla="*/ 1949005 w 2077711"/>
              <a:gd name="connsiteY8" fmla="*/ 2167002 h 2561350"/>
              <a:gd name="connsiteX9" fmla="*/ 1219874 w 2077711"/>
              <a:gd name="connsiteY9" fmla="*/ 2167002 h 2561350"/>
              <a:gd name="connsiteX10" fmla="*/ 1239747 w 2077711"/>
              <a:gd name="connsiteY10" fmla="*/ 2275300 h 2561350"/>
              <a:gd name="connsiteX11" fmla="*/ 789691 w 2077711"/>
              <a:gd name="connsiteY11" fmla="*/ 2277680 h 2561350"/>
              <a:gd name="connsiteX12" fmla="*/ 819624 w 2077711"/>
              <a:gd name="connsiteY12" fmla="*/ 2167002 h 2561350"/>
              <a:gd name="connsiteX13" fmla="*/ 153225 w 2077711"/>
              <a:gd name="connsiteY13" fmla="*/ 2167002 h 2561350"/>
              <a:gd name="connsiteX14" fmla="*/ 153225 w 2077711"/>
              <a:gd name="connsiteY14" fmla="*/ 1458174 h 2561350"/>
              <a:gd name="connsiteX15" fmla="*/ 248224 w 2077711"/>
              <a:gd name="connsiteY15" fmla="*/ 1495354 h 2561350"/>
              <a:gd name="connsiteX16" fmla="*/ 245844 w 2077711"/>
              <a:gd name="connsiteY16" fmla="*/ 1045298 h 2561350"/>
              <a:gd name="connsiteX17" fmla="*/ 153225 w 2077711"/>
              <a:gd name="connsiteY17" fmla="*/ 1071146 h 2561350"/>
              <a:gd name="connsiteX18" fmla="*/ 106805 w 2077711"/>
              <a:gd name="connsiteY18" fmla="*/ 382371 h 2561350"/>
              <a:gd name="connsiteX19" fmla="*/ 824595 w 2077711"/>
              <a:gd name="connsiteY19" fmla="*/ 389002 h 2561350"/>
              <a:gd name="connsiteX20" fmla="*/ 789691 w 2077711"/>
              <a:gd name="connsiteY20" fmla="*/ 283670 h 2561350"/>
              <a:gd name="connsiteX21" fmla="*/ 1025434 w 2077711"/>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57307 w 2082173"/>
              <a:gd name="connsiteY6" fmla="*/ 1487403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67002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53225 w 2082173"/>
              <a:gd name="connsiteY13" fmla="*/ 2167002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53225 w 2082173"/>
              <a:gd name="connsiteY14" fmla="*/ 1458174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1331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13436 w 2082173"/>
              <a:gd name="connsiteY14" fmla="*/ 1511225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48224 w 2082173"/>
              <a:gd name="connsiteY15" fmla="*/ 1495354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94643 w 2082173"/>
              <a:gd name="connsiteY15" fmla="*/ 1574931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25434 w 2082173"/>
              <a:gd name="connsiteY0" fmla="*/ 3 h 2561350"/>
              <a:gd name="connsiteX1" fmla="*/ 1239747 w 2082173"/>
              <a:gd name="connsiteY1" fmla="*/ 286050 h 2561350"/>
              <a:gd name="connsiteX2" fmla="*/ 1217611 w 2082173"/>
              <a:gd name="connsiteY2" fmla="*/ 389002 h 2561350"/>
              <a:gd name="connsiteX3" fmla="*/ 1968899 w 2082173"/>
              <a:gd name="connsiteY3" fmla="*/ 369108 h 2561350"/>
              <a:gd name="connsiteX4" fmla="*/ 1962267 w 2082173"/>
              <a:gd name="connsiteY4" fmla="*/ 1096546 h 2561350"/>
              <a:gd name="connsiteX5" fmla="*/ 1859687 w 2082173"/>
              <a:gd name="connsiteY5" fmla="*/ 1037347 h 2561350"/>
              <a:gd name="connsiteX6" fmla="*/ 1844045 w 2082173"/>
              <a:gd name="connsiteY6" fmla="*/ 1520560 h 2561350"/>
              <a:gd name="connsiteX7" fmla="*/ 1995425 w 2082173"/>
              <a:gd name="connsiteY7" fmla="*/ 1456260 h 2561350"/>
              <a:gd name="connsiteX8" fmla="*/ 1949005 w 2082173"/>
              <a:gd name="connsiteY8" fmla="*/ 2180265 h 2561350"/>
              <a:gd name="connsiteX9" fmla="*/ 1219874 w 2082173"/>
              <a:gd name="connsiteY9" fmla="*/ 2167002 h 2561350"/>
              <a:gd name="connsiteX10" fmla="*/ 1239747 w 2082173"/>
              <a:gd name="connsiteY10" fmla="*/ 2275300 h 2561350"/>
              <a:gd name="connsiteX11" fmla="*/ 789691 w 2082173"/>
              <a:gd name="connsiteY11" fmla="*/ 2277680 h 2561350"/>
              <a:gd name="connsiteX12" fmla="*/ 819624 w 2082173"/>
              <a:gd name="connsiteY12" fmla="*/ 2167002 h 2561350"/>
              <a:gd name="connsiteX13" fmla="*/ 126699 w 2082173"/>
              <a:gd name="connsiteY13" fmla="*/ 2200159 h 2561350"/>
              <a:gd name="connsiteX14" fmla="*/ 106805 w 2082173"/>
              <a:gd name="connsiteY14" fmla="*/ 1497962 h 2561350"/>
              <a:gd name="connsiteX15" fmla="*/ 268118 w 2082173"/>
              <a:gd name="connsiteY15" fmla="*/ 1561668 h 2561350"/>
              <a:gd name="connsiteX16" fmla="*/ 245844 w 2082173"/>
              <a:gd name="connsiteY16" fmla="*/ 1045298 h 2561350"/>
              <a:gd name="connsiteX17" fmla="*/ 153225 w 2082173"/>
              <a:gd name="connsiteY17" fmla="*/ 1071146 h 2561350"/>
              <a:gd name="connsiteX18" fmla="*/ 106805 w 2082173"/>
              <a:gd name="connsiteY18" fmla="*/ 382371 h 2561350"/>
              <a:gd name="connsiteX19" fmla="*/ 824595 w 2082173"/>
              <a:gd name="connsiteY19" fmla="*/ 389002 h 2561350"/>
              <a:gd name="connsiteX20" fmla="*/ 789691 w 2082173"/>
              <a:gd name="connsiteY20" fmla="*/ 283670 h 2561350"/>
              <a:gd name="connsiteX21" fmla="*/ 1025434 w 2082173"/>
              <a:gd name="connsiteY21" fmla="*/ 3 h 2561350"/>
              <a:gd name="connsiteX0" fmla="*/ 1038495 w 2095234"/>
              <a:gd name="connsiteY0" fmla="*/ 3 h 2561350"/>
              <a:gd name="connsiteX1" fmla="*/ 1252808 w 2095234"/>
              <a:gd name="connsiteY1" fmla="*/ 286050 h 2561350"/>
              <a:gd name="connsiteX2" fmla="*/ 1230672 w 2095234"/>
              <a:gd name="connsiteY2" fmla="*/ 389002 h 2561350"/>
              <a:gd name="connsiteX3" fmla="*/ 1981960 w 2095234"/>
              <a:gd name="connsiteY3" fmla="*/ 369108 h 2561350"/>
              <a:gd name="connsiteX4" fmla="*/ 1975328 w 2095234"/>
              <a:gd name="connsiteY4" fmla="*/ 1096546 h 2561350"/>
              <a:gd name="connsiteX5" fmla="*/ 1872748 w 2095234"/>
              <a:gd name="connsiteY5" fmla="*/ 1037347 h 2561350"/>
              <a:gd name="connsiteX6" fmla="*/ 1857106 w 2095234"/>
              <a:gd name="connsiteY6" fmla="*/ 1520560 h 2561350"/>
              <a:gd name="connsiteX7" fmla="*/ 2008486 w 2095234"/>
              <a:gd name="connsiteY7" fmla="*/ 1456260 h 2561350"/>
              <a:gd name="connsiteX8" fmla="*/ 1962066 w 2095234"/>
              <a:gd name="connsiteY8" fmla="*/ 2180265 h 2561350"/>
              <a:gd name="connsiteX9" fmla="*/ 1232935 w 2095234"/>
              <a:gd name="connsiteY9" fmla="*/ 2167002 h 2561350"/>
              <a:gd name="connsiteX10" fmla="*/ 1252808 w 2095234"/>
              <a:gd name="connsiteY10" fmla="*/ 2275300 h 2561350"/>
              <a:gd name="connsiteX11" fmla="*/ 802752 w 2095234"/>
              <a:gd name="connsiteY11" fmla="*/ 2277680 h 2561350"/>
              <a:gd name="connsiteX12" fmla="*/ 832685 w 2095234"/>
              <a:gd name="connsiteY12" fmla="*/ 2167002 h 2561350"/>
              <a:gd name="connsiteX13" fmla="*/ 139760 w 2095234"/>
              <a:gd name="connsiteY13" fmla="*/ 2200159 h 2561350"/>
              <a:gd name="connsiteX14" fmla="*/ 119866 w 2095234"/>
              <a:gd name="connsiteY14" fmla="*/ 1497962 h 2561350"/>
              <a:gd name="connsiteX15" fmla="*/ 281179 w 2095234"/>
              <a:gd name="connsiteY15" fmla="*/ 1561668 h 2561350"/>
              <a:gd name="connsiteX16" fmla="*/ 258905 w 2095234"/>
              <a:gd name="connsiteY16" fmla="*/ 1045298 h 2561350"/>
              <a:gd name="connsiteX17" fmla="*/ 146392 w 2095234"/>
              <a:gd name="connsiteY17" fmla="*/ 1091040 h 2561350"/>
              <a:gd name="connsiteX18" fmla="*/ 119866 w 2095234"/>
              <a:gd name="connsiteY18" fmla="*/ 382371 h 2561350"/>
              <a:gd name="connsiteX19" fmla="*/ 837656 w 2095234"/>
              <a:gd name="connsiteY19" fmla="*/ 389002 h 2561350"/>
              <a:gd name="connsiteX20" fmla="*/ 802752 w 2095234"/>
              <a:gd name="connsiteY20" fmla="*/ 283670 h 2561350"/>
              <a:gd name="connsiteX21" fmla="*/ 1038495 w 2095234"/>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29810 w 2086549"/>
              <a:gd name="connsiteY0" fmla="*/ 3 h 2561350"/>
              <a:gd name="connsiteX1" fmla="*/ 1244123 w 2086549"/>
              <a:gd name="connsiteY1" fmla="*/ 286050 h 2561350"/>
              <a:gd name="connsiteX2" fmla="*/ 1221987 w 2086549"/>
              <a:gd name="connsiteY2" fmla="*/ 389002 h 2561350"/>
              <a:gd name="connsiteX3" fmla="*/ 1973275 w 2086549"/>
              <a:gd name="connsiteY3" fmla="*/ 369108 h 2561350"/>
              <a:gd name="connsiteX4" fmla="*/ 1966643 w 2086549"/>
              <a:gd name="connsiteY4" fmla="*/ 1096546 h 2561350"/>
              <a:gd name="connsiteX5" fmla="*/ 1864063 w 2086549"/>
              <a:gd name="connsiteY5" fmla="*/ 1037347 h 2561350"/>
              <a:gd name="connsiteX6" fmla="*/ 1848421 w 2086549"/>
              <a:gd name="connsiteY6" fmla="*/ 1520560 h 2561350"/>
              <a:gd name="connsiteX7" fmla="*/ 1999801 w 2086549"/>
              <a:gd name="connsiteY7" fmla="*/ 1456260 h 2561350"/>
              <a:gd name="connsiteX8" fmla="*/ 1953381 w 2086549"/>
              <a:gd name="connsiteY8" fmla="*/ 2180265 h 2561350"/>
              <a:gd name="connsiteX9" fmla="*/ 1224250 w 2086549"/>
              <a:gd name="connsiteY9" fmla="*/ 2167002 h 2561350"/>
              <a:gd name="connsiteX10" fmla="*/ 1244123 w 2086549"/>
              <a:gd name="connsiteY10" fmla="*/ 2275300 h 2561350"/>
              <a:gd name="connsiteX11" fmla="*/ 794067 w 2086549"/>
              <a:gd name="connsiteY11" fmla="*/ 2277680 h 2561350"/>
              <a:gd name="connsiteX12" fmla="*/ 824000 w 2086549"/>
              <a:gd name="connsiteY12" fmla="*/ 2167002 h 2561350"/>
              <a:gd name="connsiteX13" fmla="*/ 131075 w 2086549"/>
              <a:gd name="connsiteY13" fmla="*/ 2200159 h 2561350"/>
              <a:gd name="connsiteX14" fmla="*/ 111181 w 2086549"/>
              <a:gd name="connsiteY14" fmla="*/ 1497962 h 2561350"/>
              <a:gd name="connsiteX15" fmla="*/ 272494 w 2086549"/>
              <a:gd name="connsiteY15" fmla="*/ 1561668 h 2561350"/>
              <a:gd name="connsiteX16" fmla="*/ 250220 w 2086549"/>
              <a:gd name="connsiteY16" fmla="*/ 1045298 h 2561350"/>
              <a:gd name="connsiteX17" fmla="*/ 137707 w 2086549"/>
              <a:gd name="connsiteY17" fmla="*/ 1091040 h 2561350"/>
              <a:gd name="connsiteX18" fmla="*/ 111181 w 2086549"/>
              <a:gd name="connsiteY18" fmla="*/ 382371 h 2561350"/>
              <a:gd name="connsiteX19" fmla="*/ 828971 w 2086549"/>
              <a:gd name="connsiteY19" fmla="*/ 389002 h 2561350"/>
              <a:gd name="connsiteX20" fmla="*/ 794067 w 2086549"/>
              <a:gd name="connsiteY20" fmla="*/ 283670 h 2561350"/>
              <a:gd name="connsiteX21" fmla="*/ 1029810 w 2086549"/>
              <a:gd name="connsiteY21"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01239 w 2076607"/>
              <a:gd name="connsiteY17" fmla="*/ 382371 h 2561350"/>
              <a:gd name="connsiteX18" fmla="*/ 819029 w 2076607"/>
              <a:gd name="connsiteY18" fmla="*/ 389002 h 2561350"/>
              <a:gd name="connsiteX19" fmla="*/ 784125 w 2076607"/>
              <a:gd name="connsiteY19" fmla="*/ 283670 h 2561350"/>
              <a:gd name="connsiteX20" fmla="*/ 1019868 w 2076607"/>
              <a:gd name="connsiteY20" fmla="*/ 3 h 2561350"/>
              <a:gd name="connsiteX0" fmla="*/ 1019868 w 2076607"/>
              <a:gd name="connsiteY0" fmla="*/ 3 h 2561350"/>
              <a:gd name="connsiteX1" fmla="*/ 1234181 w 2076607"/>
              <a:gd name="connsiteY1" fmla="*/ 286050 h 2561350"/>
              <a:gd name="connsiteX2" fmla="*/ 1212045 w 2076607"/>
              <a:gd name="connsiteY2" fmla="*/ 389002 h 2561350"/>
              <a:gd name="connsiteX3" fmla="*/ 1963333 w 2076607"/>
              <a:gd name="connsiteY3" fmla="*/ 369108 h 2561350"/>
              <a:gd name="connsiteX4" fmla="*/ 1956701 w 2076607"/>
              <a:gd name="connsiteY4" fmla="*/ 1096546 h 2561350"/>
              <a:gd name="connsiteX5" fmla="*/ 1854121 w 2076607"/>
              <a:gd name="connsiteY5" fmla="*/ 1037347 h 2561350"/>
              <a:gd name="connsiteX6" fmla="*/ 1838479 w 2076607"/>
              <a:gd name="connsiteY6" fmla="*/ 1520560 h 2561350"/>
              <a:gd name="connsiteX7" fmla="*/ 1989859 w 2076607"/>
              <a:gd name="connsiteY7" fmla="*/ 1456260 h 2561350"/>
              <a:gd name="connsiteX8" fmla="*/ 1943439 w 2076607"/>
              <a:gd name="connsiteY8" fmla="*/ 2180265 h 2561350"/>
              <a:gd name="connsiteX9" fmla="*/ 1214308 w 2076607"/>
              <a:gd name="connsiteY9" fmla="*/ 2167002 h 2561350"/>
              <a:gd name="connsiteX10" fmla="*/ 1234181 w 2076607"/>
              <a:gd name="connsiteY10" fmla="*/ 2275300 h 2561350"/>
              <a:gd name="connsiteX11" fmla="*/ 784125 w 2076607"/>
              <a:gd name="connsiteY11" fmla="*/ 2277680 h 2561350"/>
              <a:gd name="connsiteX12" fmla="*/ 814058 w 2076607"/>
              <a:gd name="connsiteY12" fmla="*/ 2167002 h 2561350"/>
              <a:gd name="connsiteX13" fmla="*/ 121133 w 2076607"/>
              <a:gd name="connsiteY13" fmla="*/ 2200159 h 2561350"/>
              <a:gd name="connsiteX14" fmla="*/ 101239 w 2076607"/>
              <a:gd name="connsiteY14" fmla="*/ 1497962 h 2561350"/>
              <a:gd name="connsiteX15" fmla="*/ 262552 w 2076607"/>
              <a:gd name="connsiteY15" fmla="*/ 1561668 h 2561350"/>
              <a:gd name="connsiteX16" fmla="*/ 240278 w 2076607"/>
              <a:gd name="connsiteY16" fmla="*/ 1045298 h 2561350"/>
              <a:gd name="connsiteX17" fmla="*/ 136388 w 2076607"/>
              <a:gd name="connsiteY17" fmla="*/ 727479 h 2561350"/>
              <a:gd name="connsiteX18" fmla="*/ 101239 w 2076607"/>
              <a:gd name="connsiteY18" fmla="*/ 382371 h 2561350"/>
              <a:gd name="connsiteX19" fmla="*/ 819029 w 2076607"/>
              <a:gd name="connsiteY19" fmla="*/ 389002 h 2561350"/>
              <a:gd name="connsiteX20" fmla="*/ 784125 w 2076607"/>
              <a:gd name="connsiteY20" fmla="*/ 283670 h 2561350"/>
              <a:gd name="connsiteX21" fmla="*/ 1019868 w 2076607"/>
              <a:gd name="connsiteY21" fmla="*/ 3 h 2561350"/>
              <a:gd name="connsiteX0" fmla="*/ 1030195 w 2086934"/>
              <a:gd name="connsiteY0" fmla="*/ 3 h 2561350"/>
              <a:gd name="connsiteX1" fmla="*/ 1244508 w 2086934"/>
              <a:gd name="connsiteY1" fmla="*/ 286050 h 2561350"/>
              <a:gd name="connsiteX2" fmla="*/ 1222372 w 2086934"/>
              <a:gd name="connsiteY2" fmla="*/ 389002 h 2561350"/>
              <a:gd name="connsiteX3" fmla="*/ 1973660 w 2086934"/>
              <a:gd name="connsiteY3" fmla="*/ 369108 h 2561350"/>
              <a:gd name="connsiteX4" fmla="*/ 1967028 w 2086934"/>
              <a:gd name="connsiteY4" fmla="*/ 1096546 h 2561350"/>
              <a:gd name="connsiteX5" fmla="*/ 1864448 w 2086934"/>
              <a:gd name="connsiteY5" fmla="*/ 1037347 h 2561350"/>
              <a:gd name="connsiteX6" fmla="*/ 1848806 w 2086934"/>
              <a:gd name="connsiteY6" fmla="*/ 1520560 h 2561350"/>
              <a:gd name="connsiteX7" fmla="*/ 2000186 w 2086934"/>
              <a:gd name="connsiteY7" fmla="*/ 1456260 h 2561350"/>
              <a:gd name="connsiteX8" fmla="*/ 1953766 w 2086934"/>
              <a:gd name="connsiteY8" fmla="*/ 2180265 h 2561350"/>
              <a:gd name="connsiteX9" fmla="*/ 1224635 w 2086934"/>
              <a:gd name="connsiteY9" fmla="*/ 2167002 h 2561350"/>
              <a:gd name="connsiteX10" fmla="*/ 1244508 w 2086934"/>
              <a:gd name="connsiteY10" fmla="*/ 2275300 h 2561350"/>
              <a:gd name="connsiteX11" fmla="*/ 794452 w 2086934"/>
              <a:gd name="connsiteY11" fmla="*/ 2277680 h 2561350"/>
              <a:gd name="connsiteX12" fmla="*/ 824385 w 2086934"/>
              <a:gd name="connsiteY12" fmla="*/ 2167002 h 2561350"/>
              <a:gd name="connsiteX13" fmla="*/ 131460 w 2086934"/>
              <a:gd name="connsiteY13" fmla="*/ 2200159 h 2561350"/>
              <a:gd name="connsiteX14" fmla="*/ 111566 w 2086934"/>
              <a:gd name="connsiteY14" fmla="*/ 1497962 h 2561350"/>
              <a:gd name="connsiteX15" fmla="*/ 272879 w 2086934"/>
              <a:gd name="connsiteY15" fmla="*/ 1561668 h 2561350"/>
              <a:gd name="connsiteX16" fmla="*/ 250605 w 2086934"/>
              <a:gd name="connsiteY16" fmla="*/ 1045298 h 2561350"/>
              <a:gd name="connsiteX17" fmla="*/ 9943 w 2086934"/>
              <a:gd name="connsiteY17" fmla="*/ 1018431 h 2561350"/>
              <a:gd name="connsiteX18" fmla="*/ 111566 w 2086934"/>
              <a:gd name="connsiteY18" fmla="*/ 382371 h 2561350"/>
              <a:gd name="connsiteX19" fmla="*/ 829356 w 2086934"/>
              <a:gd name="connsiteY19" fmla="*/ 389002 h 2561350"/>
              <a:gd name="connsiteX20" fmla="*/ 794452 w 2086934"/>
              <a:gd name="connsiteY20" fmla="*/ 283670 h 2561350"/>
              <a:gd name="connsiteX21" fmla="*/ 1030195 w 2086934"/>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09253 w 2084621"/>
              <a:gd name="connsiteY14" fmla="*/ 1497962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270566 w 2084621"/>
              <a:gd name="connsiteY14" fmla="*/ 1561668 h 2561350"/>
              <a:gd name="connsiteX15" fmla="*/ 248292 w 2084621"/>
              <a:gd name="connsiteY15" fmla="*/ 1045298 h 2561350"/>
              <a:gd name="connsiteX16" fmla="*/ 7630 w 2084621"/>
              <a:gd name="connsiteY16" fmla="*/ 1018431 h 2561350"/>
              <a:gd name="connsiteX17" fmla="*/ 109253 w 2084621"/>
              <a:gd name="connsiteY17" fmla="*/ 382371 h 2561350"/>
              <a:gd name="connsiteX18" fmla="*/ 827043 w 2084621"/>
              <a:gd name="connsiteY18" fmla="*/ 389002 h 2561350"/>
              <a:gd name="connsiteX19" fmla="*/ 792139 w 2084621"/>
              <a:gd name="connsiteY19" fmla="*/ 283670 h 2561350"/>
              <a:gd name="connsiteX20" fmla="*/ 1027882 w 2084621"/>
              <a:gd name="connsiteY20" fmla="*/ 3 h 2561350"/>
              <a:gd name="connsiteX0" fmla="*/ 1027882 w 2084621"/>
              <a:gd name="connsiteY0" fmla="*/ 3 h 2561350"/>
              <a:gd name="connsiteX1" fmla="*/ 1242195 w 2084621"/>
              <a:gd name="connsiteY1" fmla="*/ 286050 h 2561350"/>
              <a:gd name="connsiteX2" fmla="*/ 1220059 w 2084621"/>
              <a:gd name="connsiteY2" fmla="*/ 389002 h 2561350"/>
              <a:gd name="connsiteX3" fmla="*/ 1971347 w 2084621"/>
              <a:gd name="connsiteY3" fmla="*/ 369108 h 2561350"/>
              <a:gd name="connsiteX4" fmla="*/ 1964715 w 2084621"/>
              <a:gd name="connsiteY4" fmla="*/ 1096546 h 2561350"/>
              <a:gd name="connsiteX5" fmla="*/ 1862135 w 2084621"/>
              <a:gd name="connsiteY5" fmla="*/ 1037347 h 2561350"/>
              <a:gd name="connsiteX6" fmla="*/ 1846493 w 2084621"/>
              <a:gd name="connsiteY6" fmla="*/ 1520560 h 2561350"/>
              <a:gd name="connsiteX7" fmla="*/ 1997873 w 2084621"/>
              <a:gd name="connsiteY7" fmla="*/ 1456260 h 2561350"/>
              <a:gd name="connsiteX8" fmla="*/ 1951453 w 2084621"/>
              <a:gd name="connsiteY8" fmla="*/ 2180265 h 2561350"/>
              <a:gd name="connsiteX9" fmla="*/ 1222322 w 2084621"/>
              <a:gd name="connsiteY9" fmla="*/ 2167002 h 2561350"/>
              <a:gd name="connsiteX10" fmla="*/ 1242195 w 2084621"/>
              <a:gd name="connsiteY10" fmla="*/ 2275300 h 2561350"/>
              <a:gd name="connsiteX11" fmla="*/ 792139 w 2084621"/>
              <a:gd name="connsiteY11" fmla="*/ 2277680 h 2561350"/>
              <a:gd name="connsiteX12" fmla="*/ 822072 w 2084621"/>
              <a:gd name="connsiteY12" fmla="*/ 2167002 h 2561350"/>
              <a:gd name="connsiteX13" fmla="*/ 129147 w 2084621"/>
              <a:gd name="connsiteY13" fmla="*/ 2200159 h 2561350"/>
              <a:gd name="connsiteX14" fmla="*/ 176730 w 2084621"/>
              <a:gd name="connsiteY14" fmla="*/ 1866419 h 2561350"/>
              <a:gd name="connsiteX15" fmla="*/ 270566 w 2084621"/>
              <a:gd name="connsiteY15" fmla="*/ 1561668 h 2561350"/>
              <a:gd name="connsiteX16" fmla="*/ 248292 w 2084621"/>
              <a:gd name="connsiteY16" fmla="*/ 1045298 h 2561350"/>
              <a:gd name="connsiteX17" fmla="*/ 7630 w 2084621"/>
              <a:gd name="connsiteY17" fmla="*/ 1018431 h 2561350"/>
              <a:gd name="connsiteX18" fmla="*/ 109253 w 2084621"/>
              <a:gd name="connsiteY18" fmla="*/ 382371 h 2561350"/>
              <a:gd name="connsiteX19" fmla="*/ 827043 w 2084621"/>
              <a:gd name="connsiteY19" fmla="*/ 389002 h 2561350"/>
              <a:gd name="connsiteX20" fmla="*/ 792139 w 2084621"/>
              <a:gd name="connsiteY20" fmla="*/ 283670 h 2561350"/>
              <a:gd name="connsiteX21" fmla="*/ 1027882 w 2084621"/>
              <a:gd name="connsiteY21" fmla="*/ 3 h 2561350"/>
              <a:gd name="connsiteX0" fmla="*/ 1033820 w 2090559"/>
              <a:gd name="connsiteY0" fmla="*/ 3 h 2561350"/>
              <a:gd name="connsiteX1" fmla="*/ 1248133 w 2090559"/>
              <a:gd name="connsiteY1" fmla="*/ 286050 h 2561350"/>
              <a:gd name="connsiteX2" fmla="*/ 1225997 w 2090559"/>
              <a:gd name="connsiteY2" fmla="*/ 389002 h 2561350"/>
              <a:gd name="connsiteX3" fmla="*/ 1977285 w 2090559"/>
              <a:gd name="connsiteY3" fmla="*/ 369108 h 2561350"/>
              <a:gd name="connsiteX4" fmla="*/ 1970653 w 2090559"/>
              <a:gd name="connsiteY4" fmla="*/ 1096546 h 2561350"/>
              <a:gd name="connsiteX5" fmla="*/ 1868073 w 2090559"/>
              <a:gd name="connsiteY5" fmla="*/ 1037347 h 2561350"/>
              <a:gd name="connsiteX6" fmla="*/ 1852431 w 2090559"/>
              <a:gd name="connsiteY6" fmla="*/ 1520560 h 2561350"/>
              <a:gd name="connsiteX7" fmla="*/ 2003811 w 2090559"/>
              <a:gd name="connsiteY7" fmla="*/ 1456260 h 2561350"/>
              <a:gd name="connsiteX8" fmla="*/ 1957391 w 2090559"/>
              <a:gd name="connsiteY8" fmla="*/ 2180265 h 2561350"/>
              <a:gd name="connsiteX9" fmla="*/ 1228260 w 2090559"/>
              <a:gd name="connsiteY9" fmla="*/ 2167002 h 2561350"/>
              <a:gd name="connsiteX10" fmla="*/ 1248133 w 2090559"/>
              <a:gd name="connsiteY10" fmla="*/ 2275300 h 2561350"/>
              <a:gd name="connsiteX11" fmla="*/ 798077 w 2090559"/>
              <a:gd name="connsiteY11" fmla="*/ 2277680 h 2561350"/>
              <a:gd name="connsiteX12" fmla="*/ 828010 w 2090559"/>
              <a:gd name="connsiteY12" fmla="*/ 2167002 h 2561350"/>
              <a:gd name="connsiteX13" fmla="*/ 135085 w 2090559"/>
              <a:gd name="connsiteY13" fmla="*/ 2200159 h 2561350"/>
              <a:gd name="connsiteX14" fmla="*/ 6108 w 2090559"/>
              <a:gd name="connsiteY14" fmla="*/ 1657531 h 2561350"/>
              <a:gd name="connsiteX15" fmla="*/ 276504 w 2090559"/>
              <a:gd name="connsiteY15" fmla="*/ 1561668 h 2561350"/>
              <a:gd name="connsiteX16" fmla="*/ 254230 w 2090559"/>
              <a:gd name="connsiteY16" fmla="*/ 1045298 h 2561350"/>
              <a:gd name="connsiteX17" fmla="*/ 13568 w 2090559"/>
              <a:gd name="connsiteY17" fmla="*/ 1018431 h 2561350"/>
              <a:gd name="connsiteX18" fmla="*/ 115191 w 2090559"/>
              <a:gd name="connsiteY18" fmla="*/ 382371 h 2561350"/>
              <a:gd name="connsiteX19" fmla="*/ 832981 w 2090559"/>
              <a:gd name="connsiteY19" fmla="*/ 389002 h 2561350"/>
              <a:gd name="connsiteX20" fmla="*/ 798077 w 2090559"/>
              <a:gd name="connsiteY20" fmla="*/ 283670 h 2561350"/>
              <a:gd name="connsiteX21" fmla="*/ 1033820 w 2090559"/>
              <a:gd name="connsiteY21" fmla="*/ 3 h 2561350"/>
              <a:gd name="connsiteX0" fmla="*/ 1032856 w 2089595"/>
              <a:gd name="connsiteY0" fmla="*/ 3 h 2561350"/>
              <a:gd name="connsiteX1" fmla="*/ 1247169 w 2089595"/>
              <a:gd name="connsiteY1" fmla="*/ 286050 h 2561350"/>
              <a:gd name="connsiteX2" fmla="*/ 1225033 w 2089595"/>
              <a:gd name="connsiteY2" fmla="*/ 389002 h 2561350"/>
              <a:gd name="connsiteX3" fmla="*/ 1976321 w 2089595"/>
              <a:gd name="connsiteY3" fmla="*/ 369108 h 2561350"/>
              <a:gd name="connsiteX4" fmla="*/ 1969689 w 2089595"/>
              <a:gd name="connsiteY4" fmla="*/ 1096546 h 2561350"/>
              <a:gd name="connsiteX5" fmla="*/ 1867109 w 2089595"/>
              <a:gd name="connsiteY5" fmla="*/ 1037347 h 2561350"/>
              <a:gd name="connsiteX6" fmla="*/ 1851467 w 2089595"/>
              <a:gd name="connsiteY6" fmla="*/ 1520560 h 2561350"/>
              <a:gd name="connsiteX7" fmla="*/ 2002847 w 2089595"/>
              <a:gd name="connsiteY7" fmla="*/ 1456260 h 2561350"/>
              <a:gd name="connsiteX8" fmla="*/ 1956427 w 2089595"/>
              <a:gd name="connsiteY8" fmla="*/ 2180265 h 2561350"/>
              <a:gd name="connsiteX9" fmla="*/ 1227296 w 2089595"/>
              <a:gd name="connsiteY9" fmla="*/ 2167002 h 2561350"/>
              <a:gd name="connsiteX10" fmla="*/ 1247169 w 2089595"/>
              <a:gd name="connsiteY10" fmla="*/ 2275300 h 2561350"/>
              <a:gd name="connsiteX11" fmla="*/ 797113 w 2089595"/>
              <a:gd name="connsiteY11" fmla="*/ 2277680 h 2561350"/>
              <a:gd name="connsiteX12" fmla="*/ 827046 w 2089595"/>
              <a:gd name="connsiteY12" fmla="*/ 2167002 h 2561350"/>
              <a:gd name="connsiteX13" fmla="*/ 134121 w 2089595"/>
              <a:gd name="connsiteY13" fmla="*/ 2200159 h 2561350"/>
              <a:gd name="connsiteX14" fmla="*/ 5144 w 2089595"/>
              <a:gd name="connsiteY14" fmla="*/ 1657531 h 2561350"/>
              <a:gd name="connsiteX15" fmla="*/ 275540 w 2089595"/>
              <a:gd name="connsiteY15" fmla="*/ 1561668 h 2561350"/>
              <a:gd name="connsiteX16" fmla="*/ 253266 w 2089595"/>
              <a:gd name="connsiteY16" fmla="*/ 1045298 h 2561350"/>
              <a:gd name="connsiteX17" fmla="*/ 12604 w 2089595"/>
              <a:gd name="connsiteY17" fmla="*/ 1018431 h 2561350"/>
              <a:gd name="connsiteX18" fmla="*/ 114227 w 2089595"/>
              <a:gd name="connsiteY18" fmla="*/ 382371 h 2561350"/>
              <a:gd name="connsiteX19" fmla="*/ 832017 w 2089595"/>
              <a:gd name="connsiteY19" fmla="*/ 389002 h 2561350"/>
              <a:gd name="connsiteX20" fmla="*/ 797113 w 2089595"/>
              <a:gd name="connsiteY20" fmla="*/ 283670 h 2561350"/>
              <a:gd name="connsiteX21" fmla="*/ 1032856 w 2089595"/>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5501"/>
              <a:gd name="connsiteY0" fmla="*/ 3 h 2561350"/>
              <a:gd name="connsiteX1" fmla="*/ 1243075 w 2085501"/>
              <a:gd name="connsiteY1" fmla="*/ 286050 h 2561350"/>
              <a:gd name="connsiteX2" fmla="*/ 1220939 w 2085501"/>
              <a:gd name="connsiteY2" fmla="*/ 389002 h 2561350"/>
              <a:gd name="connsiteX3" fmla="*/ 1972227 w 2085501"/>
              <a:gd name="connsiteY3" fmla="*/ 369108 h 2561350"/>
              <a:gd name="connsiteX4" fmla="*/ 1965595 w 2085501"/>
              <a:gd name="connsiteY4" fmla="*/ 1096546 h 2561350"/>
              <a:gd name="connsiteX5" fmla="*/ 1863015 w 2085501"/>
              <a:gd name="connsiteY5" fmla="*/ 1037347 h 2561350"/>
              <a:gd name="connsiteX6" fmla="*/ 1847373 w 2085501"/>
              <a:gd name="connsiteY6" fmla="*/ 1520560 h 2561350"/>
              <a:gd name="connsiteX7" fmla="*/ 1998753 w 2085501"/>
              <a:gd name="connsiteY7" fmla="*/ 1456260 h 2561350"/>
              <a:gd name="connsiteX8" fmla="*/ 1952333 w 2085501"/>
              <a:gd name="connsiteY8" fmla="*/ 2180265 h 2561350"/>
              <a:gd name="connsiteX9" fmla="*/ 1223202 w 2085501"/>
              <a:gd name="connsiteY9" fmla="*/ 2167002 h 2561350"/>
              <a:gd name="connsiteX10" fmla="*/ 1243075 w 2085501"/>
              <a:gd name="connsiteY10" fmla="*/ 2275300 h 2561350"/>
              <a:gd name="connsiteX11" fmla="*/ 793019 w 2085501"/>
              <a:gd name="connsiteY11" fmla="*/ 2277680 h 2561350"/>
              <a:gd name="connsiteX12" fmla="*/ 822952 w 2085501"/>
              <a:gd name="connsiteY12" fmla="*/ 2167002 h 2561350"/>
              <a:gd name="connsiteX13" fmla="*/ 130027 w 2085501"/>
              <a:gd name="connsiteY13" fmla="*/ 2200159 h 2561350"/>
              <a:gd name="connsiteX14" fmla="*/ 1050 w 2085501"/>
              <a:gd name="connsiteY14" fmla="*/ 1657531 h 2561350"/>
              <a:gd name="connsiteX15" fmla="*/ 271446 w 2085501"/>
              <a:gd name="connsiteY15" fmla="*/ 1561668 h 2561350"/>
              <a:gd name="connsiteX16" fmla="*/ 249172 w 2085501"/>
              <a:gd name="connsiteY16" fmla="*/ 1045298 h 2561350"/>
              <a:gd name="connsiteX17" fmla="*/ 8510 w 2085501"/>
              <a:gd name="connsiteY17" fmla="*/ 1018431 h 2561350"/>
              <a:gd name="connsiteX18" fmla="*/ 110133 w 2085501"/>
              <a:gd name="connsiteY18" fmla="*/ 382371 h 2561350"/>
              <a:gd name="connsiteX19" fmla="*/ 827923 w 2085501"/>
              <a:gd name="connsiteY19" fmla="*/ 389002 h 2561350"/>
              <a:gd name="connsiteX20" fmla="*/ 793019 w 2085501"/>
              <a:gd name="connsiteY20" fmla="*/ 283670 h 2561350"/>
              <a:gd name="connsiteX21" fmla="*/ 1028762 w 2085501"/>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863015 w 2081039"/>
              <a:gd name="connsiteY4" fmla="*/ 1037347 h 2561350"/>
              <a:gd name="connsiteX5" fmla="*/ 1847373 w 2081039"/>
              <a:gd name="connsiteY5" fmla="*/ 1520560 h 2561350"/>
              <a:gd name="connsiteX6" fmla="*/ 1998753 w 2081039"/>
              <a:gd name="connsiteY6" fmla="*/ 1456260 h 2561350"/>
              <a:gd name="connsiteX7" fmla="*/ 1952333 w 2081039"/>
              <a:gd name="connsiteY7" fmla="*/ 2180265 h 2561350"/>
              <a:gd name="connsiteX8" fmla="*/ 1223202 w 2081039"/>
              <a:gd name="connsiteY8" fmla="*/ 2167002 h 2561350"/>
              <a:gd name="connsiteX9" fmla="*/ 1243075 w 2081039"/>
              <a:gd name="connsiteY9" fmla="*/ 2275300 h 2561350"/>
              <a:gd name="connsiteX10" fmla="*/ 793019 w 2081039"/>
              <a:gd name="connsiteY10" fmla="*/ 2277680 h 2561350"/>
              <a:gd name="connsiteX11" fmla="*/ 822952 w 2081039"/>
              <a:gd name="connsiteY11" fmla="*/ 2167002 h 2561350"/>
              <a:gd name="connsiteX12" fmla="*/ 130027 w 2081039"/>
              <a:gd name="connsiteY12" fmla="*/ 2200159 h 2561350"/>
              <a:gd name="connsiteX13" fmla="*/ 1050 w 2081039"/>
              <a:gd name="connsiteY13" fmla="*/ 1657531 h 2561350"/>
              <a:gd name="connsiteX14" fmla="*/ 271446 w 2081039"/>
              <a:gd name="connsiteY14" fmla="*/ 1561668 h 2561350"/>
              <a:gd name="connsiteX15" fmla="*/ 249172 w 2081039"/>
              <a:gd name="connsiteY15" fmla="*/ 1045298 h 2561350"/>
              <a:gd name="connsiteX16" fmla="*/ 8510 w 2081039"/>
              <a:gd name="connsiteY16" fmla="*/ 1018431 h 2561350"/>
              <a:gd name="connsiteX17" fmla="*/ 110133 w 2081039"/>
              <a:gd name="connsiteY17" fmla="*/ 382371 h 2561350"/>
              <a:gd name="connsiteX18" fmla="*/ 827923 w 2081039"/>
              <a:gd name="connsiteY18" fmla="*/ 389002 h 2561350"/>
              <a:gd name="connsiteX19" fmla="*/ 793019 w 2081039"/>
              <a:gd name="connsiteY19" fmla="*/ 283670 h 2561350"/>
              <a:gd name="connsiteX20" fmla="*/ 1028762 w 2081039"/>
              <a:gd name="connsiteY20"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1933270 w 2081039"/>
              <a:gd name="connsiteY4" fmla="*/ 764780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72227 w 2081039"/>
              <a:gd name="connsiteY3" fmla="*/ 36910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7307 w 2081039"/>
              <a:gd name="connsiteY3" fmla="*/ 371595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81039"/>
              <a:gd name="connsiteY0" fmla="*/ 3 h 2561350"/>
              <a:gd name="connsiteX1" fmla="*/ 1243075 w 2081039"/>
              <a:gd name="connsiteY1" fmla="*/ 286050 h 2561350"/>
              <a:gd name="connsiteX2" fmla="*/ 1220939 w 2081039"/>
              <a:gd name="connsiteY2" fmla="*/ 389002 h 2561350"/>
              <a:gd name="connsiteX3" fmla="*/ 1959793 w 2081039"/>
              <a:gd name="connsiteY3" fmla="*/ 361648 h 2561350"/>
              <a:gd name="connsiteX4" fmla="*/ 2067556 w 2081039"/>
              <a:gd name="connsiteY4" fmla="*/ 961234 h 2561350"/>
              <a:gd name="connsiteX5" fmla="*/ 1863015 w 2081039"/>
              <a:gd name="connsiteY5" fmla="*/ 1037347 h 2561350"/>
              <a:gd name="connsiteX6" fmla="*/ 1847373 w 2081039"/>
              <a:gd name="connsiteY6" fmla="*/ 1520560 h 2561350"/>
              <a:gd name="connsiteX7" fmla="*/ 1998753 w 2081039"/>
              <a:gd name="connsiteY7" fmla="*/ 1456260 h 2561350"/>
              <a:gd name="connsiteX8" fmla="*/ 1952333 w 2081039"/>
              <a:gd name="connsiteY8" fmla="*/ 2180265 h 2561350"/>
              <a:gd name="connsiteX9" fmla="*/ 1223202 w 2081039"/>
              <a:gd name="connsiteY9" fmla="*/ 2167002 h 2561350"/>
              <a:gd name="connsiteX10" fmla="*/ 1243075 w 2081039"/>
              <a:gd name="connsiteY10" fmla="*/ 2275300 h 2561350"/>
              <a:gd name="connsiteX11" fmla="*/ 793019 w 2081039"/>
              <a:gd name="connsiteY11" fmla="*/ 2277680 h 2561350"/>
              <a:gd name="connsiteX12" fmla="*/ 822952 w 2081039"/>
              <a:gd name="connsiteY12" fmla="*/ 2167002 h 2561350"/>
              <a:gd name="connsiteX13" fmla="*/ 130027 w 2081039"/>
              <a:gd name="connsiteY13" fmla="*/ 2200159 h 2561350"/>
              <a:gd name="connsiteX14" fmla="*/ 1050 w 2081039"/>
              <a:gd name="connsiteY14" fmla="*/ 1657531 h 2561350"/>
              <a:gd name="connsiteX15" fmla="*/ 271446 w 2081039"/>
              <a:gd name="connsiteY15" fmla="*/ 1561668 h 2561350"/>
              <a:gd name="connsiteX16" fmla="*/ 249172 w 2081039"/>
              <a:gd name="connsiteY16" fmla="*/ 1045298 h 2561350"/>
              <a:gd name="connsiteX17" fmla="*/ 8510 w 2081039"/>
              <a:gd name="connsiteY17" fmla="*/ 1018431 h 2561350"/>
              <a:gd name="connsiteX18" fmla="*/ 110133 w 2081039"/>
              <a:gd name="connsiteY18" fmla="*/ 382371 h 2561350"/>
              <a:gd name="connsiteX19" fmla="*/ 827923 w 2081039"/>
              <a:gd name="connsiteY19" fmla="*/ 389002 h 2561350"/>
              <a:gd name="connsiteX20" fmla="*/ 793019 w 2081039"/>
              <a:gd name="connsiteY20" fmla="*/ 283670 h 2561350"/>
              <a:gd name="connsiteX21" fmla="*/ 1028762 w 208103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1890996 w 2072429"/>
              <a:gd name="connsiteY7" fmla="*/ 1722186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20560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63015 w 2072429"/>
              <a:gd name="connsiteY5" fmla="*/ 1037347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47373 w 2072429"/>
              <a:gd name="connsiteY5" fmla="*/ 1535481 h 2561350"/>
              <a:gd name="connsiteX6" fmla="*/ 2065070 w 2072429"/>
              <a:gd name="connsiteY6" fmla="*/ 1597847 h 2561350"/>
              <a:gd name="connsiteX7" fmla="*/ 1952333 w 2072429"/>
              <a:gd name="connsiteY7" fmla="*/ 2180265 h 2561350"/>
              <a:gd name="connsiteX8" fmla="*/ 1223202 w 2072429"/>
              <a:gd name="connsiteY8" fmla="*/ 2167002 h 2561350"/>
              <a:gd name="connsiteX9" fmla="*/ 1243075 w 2072429"/>
              <a:gd name="connsiteY9" fmla="*/ 2275300 h 2561350"/>
              <a:gd name="connsiteX10" fmla="*/ 793019 w 2072429"/>
              <a:gd name="connsiteY10" fmla="*/ 2277680 h 2561350"/>
              <a:gd name="connsiteX11" fmla="*/ 822952 w 2072429"/>
              <a:gd name="connsiteY11" fmla="*/ 2167002 h 2561350"/>
              <a:gd name="connsiteX12" fmla="*/ 130027 w 2072429"/>
              <a:gd name="connsiteY12" fmla="*/ 2200159 h 2561350"/>
              <a:gd name="connsiteX13" fmla="*/ 1050 w 2072429"/>
              <a:gd name="connsiteY13" fmla="*/ 1657531 h 2561350"/>
              <a:gd name="connsiteX14" fmla="*/ 271446 w 2072429"/>
              <a:gd name="connsiteY14" fmla="*/ 1561668 h 2561350"/>
              <a:gd name="connsiteX15" fmla="*/ 249172 w 2072429"/>
              <a:gd name="connsiteY15" fmla="*/ 1045298 h 2561350"/>
              <a:gd name="connsiteX16" fmla="*/ 8510 w 2072429"/>
              <a:gd name="connsiteY16" fmla="*/ 1018431 h 2561350"/>
              <a:gd name="connsiteX17" fmla="*/ 110133 w 2072429"/>
              <a:gd name="connsiteY17" fmla="*/ 382371 h 2561350"/>
              <a:gd name="connsiteX18" fmla="*/ 827923 w 2072429"/>
              <a:gd name="connsiteY18" fmla="*/ 389002 h 2561350"/>
              <a:gd name="connsiteX19" fmla="*/ 793019 w 2072429"/>
              <a:gd name="connsiteY19" fmla="*/ 283670 h 2561350"/>
              <a:gd name="connsiteX20" fmla="*/ 1028762 w 2072429"/>
              <a:gd name="connsiteY20"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997927 w 2072429"/>
              <a:gd name="connsiteY5" fmla="*/ 118007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3536 w 2072429"/>
              <a:gd name="connsiteY5" fmla="*/ 1025891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72429"/>
              <a:gd name="connsiteY0" fmla="*/ 3 h 2561350"/>
              <a:gd name="connsiteX1" fmla="*/ 1243075 w 2072429"/>
              <a:gd name="connsiteY1" fmla="*/ 286050 h 2561350"/>
              <a:gd name="connsiteX2" fmla="*/ 1220939 w 2072429"/>
              <a:gd name="connsiteY2" fmla="*/ 389002 h 2561350"/>
              <a:gd name="connsiteX3" fmla="*/ 1959793 w 2072429"/>
              <a:gd name="connsiteY3" fmla="*/ 361648 h 2561350"/>
              <a:gd name="connsiteX4" fmla="*/ 2067556 w 2072429"/>
              <a:gd name="connsiteY4" fmla="*/ 961234 h 2561350"/>
              <a:gd name="connsiteX5" fmla="*/ 1881048 w 2072429"/>
              <a:gd name="connsiteY5" fmla="*/ 1030865 h 2561350"/>
              <a:gd name="connsiteX6" fmla="*/ 1847373 w 2072429"/>
              <a:gd name="connsiteY6" fmla="*/ 1535481 h 2561350"/>
              <a:gd name="connsiteX7" fmla="*/ 2065070 w 2072429"/>
              <a:gd name="connsiteY7" fmla="*/ 1597847 h 2561350"/>
              <a:gd name="connsiteX8" fmla="*/ 1952333 w 2072429"/>
              <a:gd name="connsiteY8" fmla="*/ 2180265 h 2561350"/>
              <a:gd name="connsiteX9" fmla="*/ 1223202 w 2072429"/>
              <a:gd name="connsiteY9" fmla="*/ 2167002 h 2561350"/>
              <a:gd name="connsiteX10" fmla="*/ 1243075 w 2072429"/>
              <a:gd name="connsiteY10" fmla="*/ 2275300 h 2561350"/>
              <a:gd name="connsiteX11" fmla="*/ 793019 w 2072429"/>
              <a:gd name="connsiteY11" fmla="*/ 2277680 h 2561350"/>
              <a:gd name="connsiteX12" fmla="*/ 822952 w 2072429"/>
              <a:gd name="connsiteY12" fmla="*/ 2167002 h 2561350"/>
              <a:gd name="connsiteX13" fmla="*/ 130027 w 2072429"/>
              <a:gd name="connsiteY13" fmla="*/ 2200159 h 2561350"/>
              <a:gd name="connsiteX14" fmla="*/ 1050 w 2072429"/>
              <a:gd name="connsiteY14" fmla="*/ 1657531 h 2561350"/>
              <a:gd name="connsiteX15" fmla="*/ 271446 w 2072429"/>
              <a:gd name="connsiteY15" fmla="*/ 1561668 h 2561350"/>
              <a:gd name="connsiteX16" fmla="*/ 249172 w 2072429"/>
              <a:gd name="connsiteY16" fmla="*/ 1045298 h 2561350"/>
              <a:gd name="connsiteX17" fmla="*/ 8510 w 2072429"/>
              <a:gd name="connsiteY17" fmla="*/ 1018431 h 2561350"/>
              <a:gd name="connsiteX18" fmla="*/ 110133 w 2072429"/>
              <a:gd name="connsiteY18" fmla="*/ 382371 h 2561350"/>
              <a:gd name="connsiteX19" fmla="*/ 827923 w 2072429"/>
              <a:gd name="connsiteY19" fmla="*/ 389002 h 2561350"/>
              <a:gd name="connsiteX20" fmla="*/ 793019 w 2072429"/>
              <a:gd name="connsiteY20" fmla="*/ 283670 h 2561350"/>
              <a:gd name="connsiteX21" fmla="*/ 1028762 w 2072429"/>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49172 w 2069564"/>
              <a:gd name="connsiteY16" fmla="*/ 1045298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8510 w 2069564"/>
              <a:gd name="connsiteY17" fmla="*/ 1018431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71446 w 2069564"/>
              <a:gd name="connsiteY15" fmla="*/ 1561668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762 w 2069564"/>
              <a:gd name="connsiteY0" fmla="*/ 3 h 2561350"/>
              <a:gd name="connsiteX1" fmla="*/ 1243075 w 2069564"/>
              <a:gd name="connsiteY1" fmla="*/ 286050 h 2561350"/>
              <a:gd name="connsiteX2" fmla="*/ 1220939 w 2069564"/>
              <a:gd name="connsiteY2" fmla="*/ 389002 h 2561350"/>
              <a:gd name="connsiteX3" fmla="*/ 1959793 w 2069564"/>
              <a:gd name="connsiteY3" fmla="*/ 361648 h 2561350"/>
              <a:gd name="connsiteX4" fmla="*/ 2067556 w 2069564"/>
              <a:gd name="connsiteY4" fmla="*/ 961234 h 2561350"/>
              <a:gd name="connsiteX5" fmla="*/ 1881048 w 2069564"/>
              <a:gd name="connsiteY5" fmla="*/ 1030865 h 2561350"/>
              <a:gd name="connsiteX6" fmla="*/ 1847373 w 2069564"/>
              <a:gd name="connsiteY6" fmla="*/ 1535481 h 2561350"/>
              <a:gd name="connsiteX7" fmla="*/ 2065070 w 2069564"/>
              <a:gd name="connsiteY7" fmla="*/ 1597847 h 2561350"/>
              <a:gd name="connsiteX8" fmla="*/ 1952333 w 2069564"/>
              <a:gd name="connsiteY8" fmla="*/ 2180265 h 2561350"/>
              <a:gd name="connsiteX9" fmla="*/ 1223202 w 2069564"/>
              <a:gd name="connsiteY9" fmla="*/ 2167002 h 2561350"/>
              <a:gd name="connsiteX10" fmla="*/ 1243075 w 2069564"/>
              <a:gd name="connsiteY10" fmla="*/ 2275300 h 2561350"/>
              <a:gd name="connsiteX11" fmla="*/ 793019 w 2069564"/>
              <a:gd name="connsiteY11" fmla="*/ 2277680 h 2561350"/>
              <a:gd name="connsiteX12" fmla="*/ 822952 w 2069564"/>
              <a:gd name="connsiteY12" fmla="*/ 2167002 h 2561350"/>
              <a:gd name="connsiteX13" fmla="*/ 130027 w 2069564"/>
              <a:gd name="connsiteY13" fmla="*/ 2200159 h 2561350"/>
              <a:gd name="connsiteX14" fmla="*/ 1050 w 2069564"/>
              <a:gd name="connsiteY14" fmla="*/ 1657531 h 2561350"/>
              <a:gd name="connsiteX15" fmla="*/ 258483 w 2069564"/>
              <a:gd name="connsiteY15" fmla="*/ 1557347 h 2561350"/>
              <a:gd name="connsiteX16" fmla="*/ 270777 w 2069564"/>
              <a:gd name="connsiteY16" fmla="*/ 1028015 h 2561350"/>
              <a:gd name="connsiteX17" fmla="*/ 30115 w 2069564"/>
              <a:gd name="connsiteY17" fmla="*/ 1005469 h 2561350"/>
              <a:gd name="connsiteX18" fmla="*/ 110133 w 2069564"/>
              <a:gd name="connsiteY18" fmla="*/ 382371 h 2561350"/>
              <a:gd name="connsiteX19" fmla="*/ 827923 w 2069564"/>
              <a:gd name="connsiteY19" fmla="*/ 389002 h 2561350"/>
              <a:gd name="connsiteX20" fmla="*/ 793019 w 2069564"/>
              <a:gd name="connsiteY20" fmla="*/ 283670 h 2561350"/>
              <a:gd name="connsiteX21" fmla="*/ 1028762 w 2069564"/>
              <a:gd name="connsiteY21" fmla="*/ 3 h 2561350"/>
              <a:gd name="connsiteX0" fmla="*/ 1028362 w 2069164"/>
              <a:gd name="connsiteY0" fmla="*/ 3 h 2561350"/>
              <a:gd name="connsiteX1" fmla="*/ 1242675 w 2069164"/>
              <a:gd name="connsiteY1" fmla="*/ 286050 h 2561350"/>
              <a:gd name="connsiteX2" fmla="*/ 1220539 w 2069164"/>
              <a:gd name="connsiteY2" fmla="*/ 389002 h 2561350"/>
              <a:gd name="connsiteX3" fmla="*/ 1959393 w 2069164"/>
              <a:gd name="connsiteY3" fmla="*/ 361648 h 2561350"/>
              <a:gd name="connsiteX4" fmla="*/ 2067156 w 2069164"/>
              <a:gd name="connsiteY4" fmla="*/ 961234 h 2561350"/>
              <a:gd name="connsiteX5" fmla="*/ 1880648 w 2069164"/>
              <a:gd name="connsiteY5" fmla="*/ 1030865 h 2561350"/>
              <a:gd name="connsiteX6" fmla="*/ 1846973 w 2069164"/>
              <a:gd name="connsiteY6" fmla="*/ 1535481 h 2561350"/>
              <a:gd name="connsiteX7" fmla="*/ 2064670 w 2069164"/>
              <a:gd name="connsiteY7" fmla="*/ 1597847 h 2561350"/>
              <a:gd name="connsiteX8" fmla="*/ 1951933 w 2069164"/>
              <a:gd name="connsiteY8" fmla="*/ 2180265 h 2561350"/>
              <a:gd name="connsiteX9" fmla="*/ 1222802 w 2069164"/>
              <a:gd name="connsiteY9" fmla="*/ 2167002 h 2561350"/>
              <a:gd name="connsiteX10" fmla="*/ 1242675 w 2069164"/>
              <a:gd name="connsiteY10" fmla="*/ 2275300 h 2561350"/>
              <a:gd name="connsiteX11" fmla="*/ 792619 w 2069164"/>
              <a:gd name="connsiteY11" fmla="*/ 2277680 h 2561350"/>
              <a:gd name="connsiteX12" fmla="*/ 822552 w 2069164"/>
              <a:gd name="connsiteY12" fmla="*/ 2167002 h 2561350"/>
              <a:gd name="connsiteX13" fmla="*/ 129627 w 2069164"/>
              <a:gd name="connsiteY13" fmla="*/ 2200159 h 2561350"/>
              <a:gd name="connsiteX14" fmla="*/ 650 w 2069164"/>
              <a:gd name="connsiteY14" fmla="*/ 1657531 h 2561350"/>
              <a:gd name="connsiteX15" fmla="*/ 258083 w 2069164"/>
              <a:gd name="connsiteY15" fmla="*/ 1557347 h 2561350"/>
              <a:gd name="connsiteX16" fmla="*/ 270377 w 2069164"/>
              <a:gd name="connsiteY16" fmla="*/ 1028015 h 2561350"/>
              <a:gd name="connsiteX17" fmla="*/ 29715 w 2069164"/>
              <a:gd name="connsiteY17" fmla="*/ 1005469 h 2561350"/>
              <a:gd name="connsiteX18" fmla="*/ 109733 w 2069164"/>
              <a:gd name="connsiteY18" fmla="*/ 382371 h 2561350"/>
              <a:gd name="connsiteX19" fmla="*/ 827523 w 2069164"/>
              <a:gd name="connsiteY19" fmla="*/ 389002 h 2561350"/>
              <a:gd name="connsiteX20" fmla="*/ 792619 w 2069164"/>
              <a:gd name="connsiteY20" fmla="*/ 283670 h 2561350"/>
              <a:gd name="connsiteX21" fmla="*/ 1028362 w 206916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69727 w 2068514"/>
              <a:gd name="connsiteY16" fmla="*/ 1028015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9083 w 2068514"/>
              <a:gd name="connsiteY18" fmla="*/ 382371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79998 w 2068514"/>
              <a:gd name="connsiteY5" fmla="*/ 1030865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46323 w 2068514"/>
              <a:gd name="connsiteY6" fmla="*/ 1535481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8514"/>
              <a:gd name="connsiteY0" fmla="*/ 3 h 2561350"/>
              <a:gd name="connsiteX1" fmla="*/ 1242025 w 2068514"/>
              <a:gd name="connsiteY1" fmla="*/ 286050 h 2561350"/>
              <a:gd name="connsiteX2" fmla="*/ 1219889 w 2068514"/>
              <a:gd name="connsiteY2" fmla="*/ 389002 h 2561350"/>
              <a:gd name="connsiteX3" fmla="*/ 1958743 w 2068514"/>
              <a:gd name="connsiteY3" fmla="*/ 361648 h 2561350"/>
              <a:gd name="connsiteX4" fmla="*/ 2066506 w 2068514"/>
              <a:gd name="connsiteY4" fmla="*/ 961234 h 2561350"/>
              <a:gd name="connsiteX5" fmla="*/ 1862717 w 2068514"/>
              <a:gd name="connsiteY5" fmla="*/ 1056790 h 2561350"/>
              <a:gd name="connsiteX6" fmla="*/ 1824721 w 2068514"/>
              <a:gd name="connsiteY6" fmla="*/ 1531159 h 2561350"/>
              <a:gd name="connsiteX7" fmla="*/ 2064020 w 2068514"/>
              <a:gd name="connsiteY7" fmla="*/ 1597847 h 2561350"/>
              <a:gd name="connsiteX8" fmla="*/ 1951283 w 2068514"/>
              <a:gd name="connsiteY8" fmla="*/ 2180265 h 2561350"/>
              <a:gd name="connsiteX9" fmla="*/ 1222152 w 2068514"/>
              <a:gd name="connsiteY9" fmla="*/ 2167002 h 2561350"/>
              <a:gd name="connsiteX10" fmla="*/ 1242025 w 2068514"/>
              <a:gd name="connsiteY10" fmla="*/ 2275300 h 2561350"/>
              <a:gd name="connsiteX11" fmla="*/ 791969 w 2068514"/>
              <a:gd name="connsiteY11" fmla="*/ 2277680 h 2561350"/>
              <a:gd name="connsiteX12" fmla="*/ 821902 w 2068514"/>
              <a:gd name="connsiteY12" fmla="*/ 2167002 h 2561350"/>
              <a:gd name="connsiteX13" fmla="*/ 128977 w 2068514"/>
              <a:gd name="connsiteY13" fmla="*/ 2200159 h 2561350"/>
              <a:gd name="connsiteX14" fmla="*/ 0 w 2068514"/>
              <a:gd name="connsiteY14" fmla="*/ 1657531 h 2561350"/>
              <a:gd name="connsiteX15" fmla="*/ 257433 w 2068514"/>
              <a:gd name="connsiteY15" fmla="*/ 1557347 h 2561350"/>
              <a:gd name="connsiteX16" fmla="*/ 239483 w 2068514"/>
              <a:gd name="connsiteY16" fmla="*/ 1049619 h 2561350"/>
              <a:gd name="connsiteX17" fmla="*/ 29065 w 2068514"/>
              <a:gd name="connsiteY17" fmla="*/ 1005469 h 2561350"/>
              <a:gd name="connsiteX18" fmla="*/ 100444 w 2068514"/>
              <a:gd name="connsiteY18" fmla="*/ 369408 h 2561350"/>
              <a:gd name="connsiteX19" fmla="*/ 826873 w 2068514"/>
              <a:gd name="connsiteY19" fmla="*/ 389002 h 2561350"/>
              <a:gd name="connsiteX20" fmla="*/ 791969 w 2068514"/>
              <a:gd name="connsiteY20" fmla="*/ 283670 h 2561350"/>
              <a:gd name="connsiteX21" fmla="*/ 1027712 w 2068514"/>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64020 w 2066875"/>
              <a:gd name="connsiteY7" fmla="*/ 1597847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06489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875"/>
              <a:gd name="connsiteY0" fmla="*/ 3 h 2561350"/>
              <a:gd name="connsiteX1" fmla="*/ 1242025 w 2066875"/>
              <a:gd name="connsiteY1" fmla="*/ 286050 h 2561350"/>
              <a:gd name="connsiteX2" fmla="*/ 1219889 w 2066875"/>
              <a:gd name="connsiteY2" fmla="*/ 389002 h 2561350"/>
              <a:gd name="connsiteX3" fmla="*/ 1958743 w 2066875"/>
              <a:gd name="connsiteY3" fmla="*/ 361648 h 2561350"/>
              <a:gd name="connsiteX4" fmla="*/ 2066506 w 2066875"/>
              <a:gd name="connsiteY4" fmla="*/ 961234 h 2561350"/>
              <a:gd name="connsiteX5" fmla="*/ 1862717 w 2066875"/>
              <a:gd name="connsiteY5" fmla="*/ 1056790 h 2561350"/>
              <a:gd name="connsiteX6" fmla="*/ 1824721 w 2066875"/>
              <a:gd name="connsiteY6" fmla="*/ 1531159 h 2561350"/>
              <a:gd name="connsiteX7" fmla="*/ 2042416 w 2066875"/>
              <a:gd name="connsiteY7" fmla="*/ 1619452 h 2561350"/>
              <a:gd name="connsiteX8" fmla="*/ 1951283 w 2066875"/>
              <a:gd name="connsiteY8" fmla="*/ 2180265 h 2561350"/>
              <a:gd name="connsiteX9" fmla="*/ 1222152 w 2066875"/>
              <a:gd name="connsiteY9" fmla="*/ 2167002 h 2561350"/>
              <a:gd name="connsiteX10" fmla="*/ 1242025 w 2066875"/>
              <a:gd name="connsiteY10" fmla="*/ 2275300 h 2561350"/>
              <a:gd name="connsiteX11" fmla="*/ 791969 w 2066875"/>
              <a:gd name="connsiteY11" fmla="*/ 2277680 h 2561350"/>
              <a:gd name="connsiteX12" fmla="*/ 821902 w 2066875"/>
              <a:gd name="connsiteY12" fmla="*/ 2167002 h 2561350"/>
              <a:gd name="connsiteX13" fmla="*/ 128977 w 2066875"/>
              <a:gd name="connsiteY13" fmla="*/ 2200159 h 2561350"/>
              <a:gd name="connsiteX14" fmla="*/ 0 w 2066875"/>
              <a:gd name="connsiteY14" fmla="*/ 1657531 h 2561350"/>
              <a:gd name="connsiteX15" fmla="*/ 257433 w 2066875"/>
              <a:gd name="connsiteY15" fmla="*/ 1557347 h 2561350"/>
              <a:gd name="connsiteX16" fmla="*/ 239483 w 2066875"/>
              <a:gd name="connsiteY16" fmla="*/ 1049619 h 2561350"/>
              <a:gd name="connsiteX17" fmla="*/ 29065 w 2066875"/>
              <a:gd name="connsiteY17" fmla="*/ 1005469 h 2561350"/>
              <a:gd name="connsiteX18" fmla="*/ 100444 w 2066875"/>
              <a:gd name="connsiteY18" fmla="*/ 369408 h 2561350"/>
              <a:gd name="connsiteX19" fmla="*/ 826873 w 2066875"/>
              <a:gd name="connsiteY19" fmla="*/ 389002 h 2561350"/>
              <a:gd name="connsiteX20" fmla="*/ 791969 w 2066875"/>
              <a:gd name="connsiteY20" fmla="*/ 283670 h 2561350"/>
              <a:gd name="connsiteX21" fmla="*/ 1027712 w 2066875"/>
              <a:gd name="connsiteY21" fmla="*/ 3 h 2561350"/>
              <a:gd name="connsiteX0" fmla="*/ 1027712 w 2066952"/>
              <a:gd name="connsiteY0" fmla="*/ 3 h 2561350"/>
              <a:gd name="connsiteX1" fmla="*/ 1242025 w 2066952"/>
              <a:gd name="connsiteY1" fmla="*/ 286050 h 2561350"/>
              <a:gd name="connsiteX2" fmla="*/ 1219889 w 2066952"/>
              <a:gd name="connsiteY2" fmla="*/ 389002 h 2561350"/>
              <a:gd name="connsiteX3" fmla="*/ 1963063 w 2066952"/>
              <a:gd name="connsiteY3" fmla="*/ 357327 h 2561350"/>
              <a:gd name="connsiteX4" fmla="*/ 2066506 w 2066952"/>
              <a:gd name="connsiteY4" fmla="*/ 961234 h 2561350"/>
              <a:gd name="connsiteX5" fmla="*/ 1862717 w 2066952"/>
              <a:gd name="connsiteY5" fmla="*/ 1056790 h 2561350"/>
              <a:gd name="connsiteX6" fmla="*/ 1824721 w 2066952"/>
              <a:gd name="connsiteY6" fmla="*/ 1531159 h 2561350"/>
              <a:gd name="connsiteX7" fmla="*/ 2042416 w 2066952"/>
              <a:gd name="connsiteY7" fmla="*/ 1619452 h 2561350"/>
              <a:gd name="connsiteX8" fmla="*/ 1951283 w 2066952"/>
              <a:gd name="connsiteY8" fmla="*/ 2180265 h 2561350"/>
              <a:gd name="connsiteX9" fmla="*/ 1222152 w 2066952"/>
              <a:gd name="connsiteY9" fmla="*/ 2167002 h 2561350"/>
              <a:gd name="connsiteX10" fmla="*/ 1242025 w 2066952"/>
              <a:gd name="connsiteY10" fmla="*/ 2275300 h 2561350"/>
              <a:gd name="connsiteX11" fmla="*/ 791969 w 2066952"/>
              <a:gd name="connsiteY11" fmla="*/ 2277680 h 2561350"/>
              <a:gd name="connsiteX12" fmla="*/ 821902 w 2066952"/>
              <a:gd name="connsiteY12" fmla="*/ 2167002 h 2561350"/>
              <a:gd name="connsiteX13" fmla="*/ 128977 w 2066952"/>
              <a:gd name="connsiteY13" fmla="*/ 2200159 h 2561350"/>
              <a:gd name="connsiteX14" fmla="*/ 0 w 2066952"/>
              <a:gd name="connsiteY14" fmla="*/ 1657531 h 2561350"/>
              <a:gd name="connsiteX15" fmla="*/ 257433 w 2066952"/>
              <a:gd name="connsiteY15" fmla="*/ 1557347 h 2561350"/>
              <a:gd name="connsiteX16" fmla="*/ 239483 w 2066952"/>
              <a:gd name="connsiteY16" fmla="*/ 1049619 h 2561350"/>
              <a:gd name="connsiteX17" fmla="*/ 29065 w 2066952"/>
              <a:gd name="connsiteY17" fmla="*/ 1005469 h 2561350"/>
              <a:gd name="connsiteX18" fmla="*/ 100444 w 2066952"/>
              <a:gd name="connsiteY18" fmla="*/ 369408 h 2561350"/>
              <a:gd name="connsiteX19" fmla="*/ 826873 w 2066952"/>
              <a:gd name="connsiteY19" fmla="*/ 389002 h 2561350"/>
              <a:gd name="connsiteX20" fmla="*/ 791969 w 2066952"/>
              <a:gd name="connsiteY20" fmla="*/ 283670 h 2561350"/>
              <a:gd name="connsiteX21" fmla="*/ 1027712 w 2066952"/>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7063"/>
              <a:gd name="connsiteY0" fmla="*/ 3 h 2561350"/>
              <a:gd name="connsiteX1" fmla="*/ 1242025 w 2067063"/>
              <a:gd name="connsiteY1" fmla="*/ 286050 h 2561350"/>
              <a:gd name="connsiteX2" fmla="*/ 1219889 w 2067063"/>
              <a:gd name="connsiteY2" fmla="*/ 389002 h 2561350"/>
              <a:gd name="connsiteX3" fmla="*/ 1967384 w 2067063"/>
              <a:gd name="connsiteY3" fmla="*/ 344364 h 2561350"/>
              <a:gd name="connsiteX4" fmla="*/ 2066506 w 2067063"/>
              <a:gd name="connsiteY4" fmla="*/ 961234 h 2561350"/>
              <a:gd name="connsiteX5" fmla="*/ 1862717 w 2067063"/>
              <a:gd name="connsiteY5" fmla="*/ 1056790 h 2561350"/>
              <a:gd name="connsiteX6" fmla="*/ 1824721 w 2067063"/>
              <a:gd name="connsiteY6" fmla="*/ 1531159 h 2561350"/>
              <a:gd name="connsiteX7" fmla="*/ 2042416 w 2067063"/>
              <a:gd name="connsiteY7" fmla="*/ 1619452 h 2561350"/>
              <a:gd name="connsiteX8" fmla="*/ 1951283 w 2067063"/>
              <a:gd name="connsiteY8" fmla="*/ 2180265 h 2561350"/>
              <a:gd name="connsiteX9" fmla="*/ 1222152 w 2067063"/>
              <a:gd name="connsiteY9" fmla="*/ 2167002 h 2561350"/>
              <a:gd name="connsiteX10" fmla="*/ 1242025 w 2067063"/>
              <a:gd name="connsiteY10" fmla="*/ 2275300 h 2561350"/>
              <a:gd name="connsiteX11" fmla="*/ 791969 w 2067063"/>
              <a:gd name="connsiteY11" fmla="*/ 2277680 h 2561350"/>
              <a:gd name="connsiteX12" fmla="*/ 821902 w 2067063"/>
              <a:gd name="connsiteY12" fmla="*/ 2167002 h 2561350"/>
              <a:gd name="connsiteX13" fmla="*/ 128977 w 2067063"/>
              <a:gd name="connsiteY13" fmla="*/ 2200159 h 2561350"/>
              <a:gd name="connsiteX14" fmla="*/ 0 w 2067063"/>
              <a:gd name="connsiteY14" fmla="*/ 1657531 h 2561350"/>
              <a:gd name="connsiteX15" fmla="*/ 257433 w 2067063"/>
              <a:gd name="connsiteY15" fmla="*/ 1557347 h 2561350"/>
              <a:gd name="connsiteX16" fmla="*/ 239483 w 2067063"/>
              <a:gd name="connsiteY16" fmla="*/ 1049619 h 2561350"/>
              <a:gd name="connsiteX17" fmla="*/ 29065 w 2067063"/>
              <a:gd name="connsiteY17" fmla="*/ 1005469 h 2561350"/>
              <a:gd name="connsiteX18" fmla="*/ 100444 w 2067063"/>
              <a:gd name="connsiteY18" fmla="*/ 369408 h 2561350"/>
              <a:gd name="connsiteX19" fmla="*/ 826873 w 2067063"/>
              <a:gd name="connsiteY19" fmla="*/ 389002 h 2561350"/>
              <a:gd name="connsiteX20" fmla="*/ 791969 w 2067063"/>
              <a:gd name="connsiteY20" fmla="*/ 283670 h 2561350"/>
              <a:gd name="connsiteX21" fmla="*/ 1027712 w 2067063"/>
              <a:gd name="connsiteY21" fmla="*/ 3 h 2561350"/>
              <a:gd name="connsiteX0" fmla="*/ 1027712 w 2066650"/>
              <a:gd name="connsiteY0" fmla="*/ 3 h 2561350"/>
              <a:gd name="connsiteX1" fmla="*/ 1242025 w 2066650"/>
              <a:gd name="connsiteY1" fmla="*/ 286050 h 2561350"/>
              <a:gd name="connsiteX2" fmla="*/ 1219889 w 2066650"/>
              <a:gd name="connsiteY2" fmla="*/ 389002 h 2561350"/>
              <a:gd name="connsiteX3" fmla="*/ 1967384 w 2066650"/>
              <a:gd name="connsiteY3" fmla="*/ 344364 h 2561350"/>
              <a:gd name="connsiteX4" fmla="*/ 2066506 w 2066650"/>
              <a:gd name="connsiteY4" fmla="*/ 961234 h 2561350"/>
              <a:gd name="connsiteX5" fmla="*/ 1862717 w 2066650"/>
              <a:gd name="connsiteY5" fmla="*/ 1056790 h 2561350"/>
              <a:gd name="connsiteX6" fmla="*/ 1824721 w 2066650"/>
              <a:gd name="connsiteY6" fmla="*/ 1531159 h 2561350"/>
              <a:gd name="connsiteX7" fmla="*/ 2042416 w 2066650"/>
              <a:gd name="connsiteY7" fmla="*/ 1619452 h 2561350"/>
              <a:gd name="connsiteX8" fmla="*/ 1951283 w 2066650"/>
              <a:gd name="connsiteY8" fmla="*/ 2180265 h 2561350"/>
              <a:gd name="connsiteX9" fmla="*/ 1222152 w 2066650"/>
              <a:gd name="connsiteY9" fmla="*/ 2167002 h 2561350"/>
              <a:gd name="connsiteX10" fmla="*/ 1242025 w 2066650"/>
              <a:gd name="connsiteY10" fmla="*/ 2275300 h 2561350"/>
              <a:gd name="connsiteX11" fmla="*/ 791969 w 2066650"/>
              <a:gd name="connsiteY11" fmla="*/ 2277680 h 2561350"/>
              <a:gd name="connsiteX12" fmla="*/ 821902 w 2066650"/>
              <a:gd name="connsiteY12" fmla="*/ 2167002 h 2561350"/>
              <a:gd name="connsiteX13" fmla="*/ 128977 w 2066650"/>
              <a:gd name="connsiteY13" fmla="*/ 2200159 h 2561350"/>
              <a:gd name="connsiteX14" fmla="*/ 0 w 2066650"/>
              <a:gd name="connsiteY14" fmla="*/ 1657531 h 2561350"/>
              <a:gd name="connsiteX15" fmla="*/ 257433 w 2066650"/>
              <a:gd name="connsiteY15" fmla="*/ 1557347 h 2561350"/>
              <a:gd name="connsiteX16" fmla="*/ 239483 w 2066650"/>
              <a:gd name="connsiteY16" fmla="*/ 1049619 h 2561350"/>
              <a:gd name="connsiteX17" fmla="*/ 29065 w 2066650"/>
              <a:gd name="connsiteY17" fmla="*/ 1005469 h 2561350"/>
              <a:gd name="connsiteX18" fmla="*/ 100444 w 2066650"/>
              <a:gd name="connsiteY18" fmla="*/ 369408 h 2561350"/>
              <a:gd name="connsiteX19" fmla="*/ 826873 w 2066650"/>
              <a:gd name="connsiteY19" fmla="*/ 389002 h 2561350"/>
              <a:gd name="connsiteX20" fmla="*/ 791969 w 2066650"/>
              <a:gd name="connsiteY20" fmla="*/ 283670 h 2561350"/>
              <a:gd name="connsiteX21" fmla="*/ 1027712 w 2066650"/>
              <a:gd name="connsiteY21" fmla="*/ 3 h 2561350"/>
              <a:gd name="connsiteX0" fmla="*/ 1027712 w 2049409"/>
              <a:gd name="connsiteY0" fmla="*/ 3 h 2561350"/>
              <a:gd name="connsiteX1" fmla="*/ 1242025 w 2049409"/>
              <a:gd name="connsiteY1" fmla="*/ 286050 h 2561350"/>
              <a:gd name="connsiteX2" fmla="*/ 1219889 w 2049409"/>
              <a:gd name="connsiteY2" fmla="*/ 389002 h 2561350"/>
              <a:gd name="connsiteX3" fmla="*/ 1967384 w 2049409"/>
              <a:gd name="connsiteY3" fmla="*/ 344364 h 2561350"/>
              <a:gd name="connsiteX4" fmla="*/ 2049225 w 2049409"/>
              <a:gd name="connsiteY4" fmla="*/ 926667 h 2561350"/>
              <a:gd name="connsiteX5" fmla="*/ 1862717 w 2049409"/>
              <a:gd name="connsiteY5" fmla="*/ 1056790 h 2561350"/>
              <a:gd name="connsiteX6" fmla="*/ 1824721 w 2049409"/>
              <a:gd name="connsiteY6" fmla="*/ 1531159 h 2561350"/>
              <a:gd name="connsiteX7" fmla="*/ 2042416 w 2049409"/>
              <a:gd name="connsiteY7" fmla="*/ 1619452 h 2561350"/>
              <a:gd name="connsiteX8" fmla="*/ 1951283 w 2049409"/>
              <a:gd name="connsiteY8" fmla="*/ 2180265 h 2561350"/>
              <a:gd name="connsiteX9" fmla="*/ 1222152 w 2049409"/>
              <a:gd name="connsiteY9" fmla="*/ 2167002 h 2561350"/>
              <a:gd name="connsiteX10" fmla="*/ 1242025 w 2049409"/>
              <a:gd name="connsiteY10" fmla="*/ 2275300 h 2561350"/>
              <a:gd name="connsiteX11" fmla="*/ 791969 w 2049409"/>
              <a:gd name="connsiteY11" fmla="*/ 2277680 h 2561350"/>
              <a:gd name="connsiteX12" fmla="*/ 821902 w 2049409"/>
              <a:gd name="connsiteY12" fmla="*/ 2167002 h 2561350"/>
              <a:gd name="connsiteX13" fmla="*/ 128977 w 2049409"/>
              <a:gd name="connsiteY13" fmla="*/ 2200159 h 2561350"/>
              <a:gd name="connsiteX14" fmla="*/ 0 w 2049409"/>
              <a:gd name="connsiteY14" fmla="*/ 1657531 h 2561350"/>
              <a:gd name="connsiteX15" fmla="*/ 257433 w 2049409"/>
              <a:gd name="connsiteY15" fmla="*/ 1557347 h 2561350"/>
              <a:gd name="connsiteX16" fmla="*/ 239483 w 2049409"/>
              <a:gd name="connsiteY16" fmla="*/ 1049619 h 2561350"/>
              <a:gd name="connsiteX17" fmla="*/ 29065 w 2049409"/>
              <a:gd name="connsiteY17" fmla="*/ 1005469 h 2561350"/>
              <a:gd name="connsiteX18" fmla="*/ 100444 w 2049409"/>
              <a:gd name="connsiteY18" fmla="*/ 369408 h 2561350"/>
              <a:gd name="connsiteX19" fmla="*/ 826873 w 2049409"/>
              <a:gd name="connsiteY19" fmla="*/ 389002 h 2561350"/>
              <a:gd name="connsiteX20" fmla="*/ 791969 w 2049409"/>
              <a:gd name="connsiteY20" fmla="*/ 283670 h 2561350"/>
              <a:gd name="connsiteX21" fmla="*/ 1027712 w 2049409"/>
              <a:gd name="connsiteY21" fmla="*/ 3 h 2561350"/>
              <a:gd name="connsiteX0" fmla="*/ 1027712 w 2049338"/>
              <a:gd name="connsiteY0" fmla="*/ 3 h 2561350"/>
              <a:gd name="connsiteX1" fmla="*/ 1242025 w 2049338"/>
              <a:gd name="connsiteY1" fmla="*/ 286050 h 2561350"/>
              <a:gd name="connsiteX2" fmla="*/ 1219889 w 2049338"/>
              <a:gd name="connsiteY2" fmla="*/ 389002 h 2561350"/>
              <a:gd name="connsiteX3" fmla="*/ 1967384 w 2049338"/>
              <a:gd name="connsiteY3" fmla="*/ 344364 h 2561350"/>
              <a:gd name="connsiteX4" fmla="*/ 2049225 w 2049338"/>
              <a:gd name="connsiteY4" fmla="*/ 926667 h 2561350"/>
              <a:gd name="connsiteX5" fmla="*/ 1862717 w 2049338"/>
              <a:gd name="connsiteY5" fmla="*/ 1056790 h 2561350"/>
              <a:gd name="connsiteX6" fmla="*/ 1824721 w 2049338"/>
              <a:gd name="connsiteY6" fmla="*/ 1531159 h 2561350"/>
              <a:gd name="connsiteX7" fmla="*/ 2042416 w 2049338"/>
              <a:gd name="connsiteY7" fmla="*/ 1619452 h 2561350"/>
              <a:gd name="connsiteX8" fmla="*/ 1951283 w 2049338"/>
              <a:gd name="connsiteY8" fmla="*/ 2180265 h 2561350"/>
              <a:gd name="connsiteX9" fmla="*/ 1222152 w 2049338"/>
              <a:gd name="connsiteY9" fmla="*/ 2167002 h 2561350"/>
              <a:gd name="connsiteX10" fmla="*/ 1242025 w 2049338"/>
              <a:gd name="connsiteY10" fmla="*/ 2275300 h 2561350"/>
              <a:gd name="connsiteX11" fmla="*/ 791969 w 2049338"/>
              <a:gd name="connsiteY11" fmla="*/ 2277680 h 2561350"/>
              <a:gd name="connsiteX12" fmla="*/ 821902 w 2049338"/>
              <a:gd name="connsiteY12" fmla="*/ 2167002 h 2561350"/>
              <a:gd name="connsiteX13" fmla="*/ 128977 w 2049338"/>
              <a:gd name="connsiteY13" fmla="*/ 2200159 h 2561350"/>
              <a:gd name="connsiteX14" fmla="*/ 0 w 2049338"/>
              <a:gd name="connsiteY14" fmla="*/ 1657531 h 2561350"/>
              <a:gd name="connsiteX15" fmla="*/ 257433 w 2049338"/>
              <a:gd name="connsiteY15" fmla="*/ 1557347 h 2561350"/>
              <a:gd name="connsiteX16" fmla="*/ 239483 w 2049338"/>
              <a:gd name="connsiteY16" fmla="*/ 1049619 h 2561350"/>
              <a:gd name="connsiteX17" fmla="*/ 29065 w 2049338"/>
              <a:gd name="connsiteY17" fmla="*/ 1005469 h 2561350"/>
              <a:gd name="connsiteX18" fmla="*/ 100444 w 2049338"/>
              <a:gd name="connsiteY18" fmla="*/ 369408 h 2561350"/>
              <a:gd name="connsiteX19" fmla="*/ 826873 w 2049338"/>
              <a:gd name="connsiteY19" fmla="*/ 389002 h 2561350"/>
              <a:gd name="connsiteX20" fmla="*/ 791969 w 2049338"/>
              <a:gd name="connsiteY20" fmla="*/ 283670 h 2561350"/>
              <a:gd name="connsiteX21" fmla="*/ 1027712 w 2049338"/>
              <a:gd name="connsiteY21" fmla="*/ 3 h 2561350"/>
              <a:gd name="connsiteX0" fmla="*/ 1027712 w 2053522"/>
              <a:gd name="connsiteY0" fmla="*/ 3 h 2561350"/>
              <a:gd name="connsiteX1" fmla="*/ 1242025 w 2053522"/>
              <a:gd name="connsiteY1" fmla="*/ 286050 h 2561350"/>
              <a:gd name="connsiteX2" fmla="*/ 1219889 w 2053522"/>
              <a:gd name="connsiteY2" fmla="*/ 389002 h 2561350"/>
              <a:gd name="connsiteX3" fmla="*/ 1967384 w 2053522"/>
              <a:gd name="connsiteY3" fmla="*/ 344364 h 2561350"/>
              <a:gd name="connsiteX4" fmla="*/ 2049225 w 2053522"/>
              <a:gd name="connsiteY4" fmla="*/ 926667 h 2561350"/>
              <a:gd name="connsiteX5" fmla="*/ 1862717 w 2053522"/>
              <a:gd name="connsiteY5" fmla="*/ 1056790 h 2561350"/>
              <a:gd name="connsiteX6" fmla="*/ 1824721 w 2053522"/>
              <a:gd name="connsiteY6" fmla="*/ 1531159 h 2561350"/>
              <a:gd name="connsiteX7" fmla="*/ 2042416 w 2053522"/>
              <a:gd name="connsiteY7" fmla="*/ 1619452 h 2561350"/>
              <a:gd name="connsiteX8" fmla="*/ 1951283 w 2053522"/>
              <a:gd name="connsiteY8" fmla="*/ 2180265 h 2561350"/>
              <a:gd name="connsiteX9" fmla="*/ 1222152 w 2053522"/>
              <a:gd name="connsiteY9" fmla="*/ 2167002 h 2561350"/>
              <a:gd name="connsiteX10" fmla="*/ 1242025 w 2053522"/>
              <a:gd name="connsiteY10" fmla="*/ 2275300 h 2561350"/>
              <a:gd name="connsiteX11" fmla="*/ 791969 w 2053522"/>
              <a:gd name="connsiteY11" fmla="*/ 2277680 h 2561350"/>
              <a:gd name="connsiteX12" fmla="*/ 821902 w 2053522"/>
              <a:gd name="connsiteY12" fmla="*/ 2167002 h 2561350"/>
              <a:gd name="connsiteX13" fmla="*/ 128977 w 2053522"/>
              <a:gd name="connsiteY13" fmla="*/ 2200159 h 2561350"/>
              <a:gd name="connsiteX14" fmla="*/ 0 w 2053522"/>
              <a:gd name="connsiteY14" fmla="*/ 1657531 h 2561350"/>
              <a:gd name="connsiteX15" fmla="*/ 257433 w 2053522"/>
              <a:gd name="connsiteY15" fmla="*/ 1557347 h 2561350"/>
              <a:gd name="connsiteX16" fmla="*/ 239483 w 2053522"/>
              <a:gd name="connsiteY16" fmla="*/ 1049619 h 2561350"/>
              <a:gd name="connsiteX17" fmla="*/ 29065 w 2053522"/>
              <a:gd name="connsiteY17" fmla="*/ 1005469 h 2561350"/>
              <a:gd name="connsiteX18" fmla="*/ 100444 w 2053522"/>
              <a:gd name="connsiteY18" fmla="*/ 369408 h 2561350"/>
              <a:gd name="connsiteX19" fmla="*/ 826873 w 2053522"/>
              <a:gd name="connsiteY19" fmla="*/ 389002 h 2561350"/>
              <a:gd name="connsiteX20" fmla="*/ 791969 w 2053522"/>
              <a:gd name="connsiteY20" fmla="*/ 283670 h 2561350"/>
              <a:gd name="connsiteX21" fmla="*/ 1027712 w 2053522"/>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27712 w 2053521"/>
              <a:gd name="connsiteY0" fmla="*/ 3 h 2561350"/>
              <a:gd name="connsiteX1" fmla="*/ 1242025 w 2053521"/>
              <a:gd name="connsiteY1" fmla="*/ 286050 h 2561350"/>
              <a:gd name="connsiteX2" fmla="*/ 1219889 w 2053521"/>
              <a:gd name="connsiteY2" fmla="*/ 389002 h 2561350"/>
              <a:gd name="connsiteX3" fmla="*/ 1967384 w 2053521"/>
              <a:gd name="connsiteY3" fmla="*/ 344364 h 2561350"/>
              <a:gd name="connsiteX4" fmla="*/ 2049225 w 2053521"/>
              <a:gd name="connsiteY4" fmla="*/ 926667 h 2561350"/>
              <a:gd name="connsiteX5" fmla="*/ 1862717 w 2053521"/>
              <a:gd name="connsiteY5" fmla="*/ 1056790 h 2561350"/>
              <a:gd name="connsiteX6" fmla="*/ 1824721 w 2053521"/>
              <a:gd name="connsiteY6" fmla="*/ 1531159 h 2561350"/>
              <a:gd name="connsiteX7" fmla="*/ 2042416 w 2053521"/>
              <a:gd name="connsiteY7" fmla="*/ 1619452 h 2561350"/>
              <a:gd name="connsiteX8" fmla="*/ 1951283 w 2053521"/>
              <a:gd name="connsiteY8" fmla="*/ 2180265 h 2561350"/>
              <a:gd name="connsiteX9" fmla="*/ 1222152 w 2053521"/>
              <a:gd name="connsiteY9" fmla="*/ 2167002 h 2561350"/>
              <a:gd name="connsiteX10" fmla="*/ 1242025 w 2053521"/>
              <a:gd name="connsiteY10" fmla="*/ 2275300 h 2561350"/>
              <a:gd name="connsiteX11" fmla="*/ 791969 w 2053521"/>
              <a:gd name="connsiteY11" fmla="*/ 2277680 h 2561350"/>
              <a:gd name="connsiteX12" fmla="*/ 821902 w 2053521"/>
              <a:gd name="connsiteY12" fmla="*/ 2167002 h 2561350"/>
              <a:gd name="connsiteX13" fmla="*/ 128977 w 2053521"/>
              <a:gd name="connsiteY13" fmla="*/ 2200159 h 2561350"/>
              <a:gd name="connsiteX14" fmla="*/ 0 w 2053521"/>
              <a:gd name="connsiteY14" fmla="*/ 1657531 h 2561350"/>
              <a:gd name="connsiteX15" fmla="*/ 257433 w 2053521"/>
              <a:gd name="connsiteY15" fmla="*/ 1557347 h 2561350"/>
              <a:gd name="connsiteX16" fmla="*/ 239483 w 2053521"/>
              <a:gd name="connsiteY16" fmla="*/ 1049619 h 2561350"/>
              <a:gd name="connsiteX17" fmla="*/ 29065 w 2053521"/>
              <a:gd name="connsiteY17" fmla="*/ 1005469 h 2561350"/>
              <a:gd name="connsiteX18" fmla="*/ 100444 w 2053521"/>
              <a:gd name="connsiteY18" fmla="*/ 369408 h 2561350"/>
              <a:gd name="connsiteX19" fmla="*/ 826873 w 2053521"/>
              <a:gd name="connsiteY19" fmla="*/ 389002 h 2561350"/>
              <a:gd name="connsiteX20" fmla="*/ 791969 w 2053521"/>
              <a:gd name="connsiteY20" fmla="*/ 283670 h 2561350"/>
              <a:gd name="connsiteX21" fmla="*/ 1027712 w 2053521"/>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4468 w 2040556"/>
              <a:gd name="connsiteY15" fmla="*/ 155734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61667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53025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29451 w 2040556"/>
              <a:gd name="connsiteY7" fmla="*/ 1619452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56790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 name="connsiteX0" fmla="*/ 1014747 w 2040556"/>
              <a:gd name="connsiteY0" fmla="*/ 3 h 2561350"/>
              <a:gd name="connsiteX1" fmla="*/ 1229060 w 2040556"/>
              <a:gd name="connsiteY1" fmla="*/ 286050 h 2561350"/>
              <a:gd name="connsiteX2" fmla="*/ 1206924 w 2040556"/>
              <a:gd name="connsiteY2" fmla="*/ 389002 h 2561350"/>
              <a:gd name="connsiteX3" fmla="*/ 1954419 w 2040556"/>
              <a:gd name="connsiteY3" fmla="*/ 344364 h 2561350"/>
              <a:gd name="connsiteX4" fmla="*/ 2036260 w 2040556"/>
              <a:gd name="connsiteY4" fmla="*/ 926667 h 2561350"/>
              <a:gd name="connsiteX5" fmla="*/ 1849752 w 2040556"/>
              <a:gd name="connsiteY5" fmla="*/ 1060129 h 2561350"/>
              <a:gd name="connsiteX6" fmla="*/ 1811756 w 2040556"/>
              <a:gd name="connsiteY6" fmla="*/ 1531159 h 2561350"/>
              <a:gd name="connsiteX7" fmla="*/ 2036129 w 2040556"/>
              <a:gd name="connsiteY7" fmla="*/ 1616113 h 2561350"/>
              <a:gd name="connsiteX8" fmla="*/ 1938318 w 2040556"/>
              <a:gd name="connsiteY8" fmla="*/ 2180265 h 2561350"/>
              <a:gd name="connsiteX9" fmla="*/ 1209187 w 2040556"/>
              <a:gd name="connsiteY9" fmla="*/ 2167002 h 2561350"/>
              <a:gd name="connsiteX10" fmla="*/ 1229060 w 2040556"/>
              <a:gd name="connsiteY10" fmla="*/ 2275300 h 2561350"/>
              <a:gd name="connsiteX11" fmla="*/ 779004 w 2040556"/>
              <a:gd name="connsiteY11" fmla="*/ 2277680 h 2561350"/>
              <a:gd name="connsiteX12" fmla="*/ 808937 w 2040556"/>
              <a:gd name="connsiteY12" fmla="*/ 2167002 h 2561350"/>
              <a:gd name="connsiteX13" fmla="*/ 116012 w 2040556"/>
              <a:gd name="connsiteY13" fmla="*/ 2200159 h 2561350"/>
              <a:gd name="connsiteX14" fmla="*/ 0 w 2040556"/>
              <a:gd name="connsiteY14" fmla="*/ 1657530 h 2561350"/>
              <a:gd name="connsiteX15" fmla="*/ 248790 w 2040556"/>
              <a:gd name="connsiteY15" fmla="*/ 1539671 h 2561350"/>
              <a:gd name="connsiteX16" fmla="*/ 226518 w 2040556"/>
              <a:gd name="connsiteY16" fmla="*/ 1049619 h 2561350"/>
              <a:gd name="connsiteX17" fmla="*/ 16100 w 2040556"/>
              <a:gd name="connsiteY17" fmla="*/ 1005469 h 2561350"/>
              <a:gd name="connsiteX18" fmla="*/ 87479 w 2040556"/>
              <a:gd name="connsiteY18" fmla="*/ 369408 h 2561350"/>
              <a:gd name="connsiteX19" fmla="*/ 813908 w 2040556"/>
              <a:gd name="connsiteY19" fmla="*/ 389002 h 2561350"/>
              <a:gd name="connsiteX20" fmla="*/ 779004 w 2040556"/>
              <a:gd name="connsiteY20" fmla="*/ 283670 h 2561350"/>
              <a:gd name="connsiteX21" fmla="*/ 1014747 w 2040556"/>
              <a:gd name="connsiteY21" fmla="*/ 3 h 256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0556" h="2561350">
                <a:moveTo>
                  <a:pt x="1014747" y="3"/>
                </a:moveTo>
                <a:cubicBezTo>
                  <a:pt x="1183816" y="-691"/>
                  <a:pt x="1351799" y="120921"/>
                  <a:pt x="1229060" y="286050"/>
                </a:cubicBezTo>
                <a:cubicBezTo>
                  <a:pt x="1212950" y="315682"/>
                  <a:pt x="1201168" y="348101"/>
                  <a:pt x="1206924" y="389002"/>
                </a:cubicBezTo>
                <a:cubicBezTo>
                  <a:pt x="1211992" y="528261"/>
                  <a:pt x="1716654" y="452477"/>
                  <a:pt x="1954419" y="344364"/>
                </a:cubicBezTo>
                <a:cubicBezTo>
                  <a:pt x="1970498" y="474789"/>
                  <a:pt x="2061145" y="783619"/>
                  <a:pt x="2036260" y="926667"/>
                </a:cubicBezTo>
                <a:cubicBezTo>
                  <a:pt x="2027166" y="1024060"/>
                  <a:pt x="1970476" y="1153289"/>
                  <a:pt x="1849752" y="1060129"/>
                </a:cubicBezTo>
                <a:cubicBezTo>
                  <a:pt x="1475468" y="853624"/>
                  <a:pt x="1487545" y="1649324"/>
                  <a:pt x="1811756" y="1531159"/>
                </a:cubicBezTo>
                <a:cubicBezTo>
                  <a:pt x="1923754" y="1469515"/>
                  <a:pt x="1987209" y="1400411"/>
                  <a:pt x="2036129" y="1616113"/>
                </a:cubicBezTo>
                <a:cubicBezTo>
                  <a:pt x="2051136" y="1730790"/>
                  <a:pt x="1956393" y="2051666"/>
                  <a:pt x="1938318" y="2180265"/>
                </a:cubicBezTo>
                <a:cubicBezTo>
                  <a:pt x="1741694" y="2153739"/>
                  <a:pt x="1359392" y="2007849"/>
                  <a:pt x="1209187" y="2167002"/>
                </a:cubicBezTo>
                <a:cubicBezTo>
                  <a:pt x="1195706" y="2193452"/>
                  <a:pt x="1198508" y="2230274"/>
                  <a:pt x="1229060" y="2275300"/>
                </a:cubicBezTo>
                <a:cubicBezTo>
                  <a:pt x="1469566" y="2660267"/>
                  <a:pt x="567071" y="2652331"/>
                  <a:pt x="779004" y="2277680"/>
                </a:cubicBezTo>
                <a:cubicBezTo>
                  <a:pt x="817979" y="2223379"/>
                  <a:pt x="825787" y="2190096"/>
                  <a:pt x="808937" y="2167002"/>
                </a:cubicBezTo>
                <a:cubicBezTo>
                  <a:pt x="706169" y="2021111"/>
                  <a:pt x="364670" y="2147108"/>
                  <a:pt x="116012" y="2200159"/>
                </a:cubicBezTo>
                <a:cubicBezTo>
                  <a:pt x="57942" y="2073996"/>
                  <a:pt x="976" y="1794778"/>
                  <a:pt x="0" y="1657530"/>
                </a:cubicBezTo>
                <a:cubicBezTo>
                  <a:pt x="23569" y="1399547"/>
                  <a:pt x="142648" y="1475748"/>
                  <a:pt x="248790" y="1539671"/>
                </a:cubicBezTo>
                <a:cubicBezTo>
                  <a:pt x="563771" y="1555589"/>
                  <a:pt x="485163" y="925406"/>
                  <a:pt x="226518" y="1049619"/>
                </a:cubicBezTo>
                <a:cubicBezTo>
                  <a:pt x="150003" y="1086365"/>
                  <a:pt x="56561" y="1164379"/>
                  <a:pt x="16100" y="1005469"/>
                </a:cubicBezTo>
                <a:cubicBezTo>
                  <a:pt x="-32993" y="864734"/>
                  <a:pt x="47286" y="478570"/>
                  <a:pt x="87479" y="369408"/>
                </a:cubicBezTo>
                <a:cubicBezTo>
                  <a:pt x="483685" y="502036"/>
                  <a:pt x="775797" y="488473"/>
                  <a:pt x="813908" y="389002"/>
                </a:cubicBezTo>
                <a:cubicBezTo>
                  <a:pt x="824229" y="365427"/>
                  <a:pt x="814657" y="333342"/>
                  <a:pt x="779004" y="283670"/>
                </a:cubicBezTo>
                <a:cubicBezTo>
                  <a:pt x="673038" y="96344"/>
                  <a:pt x="845678" y="698"/>
                  <a:pt x="1014747" y="3"/>
                </a:cubicBezTo>
                <a:close/>
              </a:path>
            </a:pathLst>
          </a:custGeom>
          <a:solidFill>
            <a:srgbClr val="6600FF"/>
          </a:solidFill>
          <a:ln w="25400" cap="flat" cmpd="sng" algn="ctr">
            <a:noFill/>
            <a:prstDash val="solid"/>
          </a:ln>
          <a:effectLst/>
          <a:scene3d>
            <a:camera prst="orthographicFront"/>
            <a:lightRig rig="threePt" dir="t"/>
          </a:scene3d>
          <a:sp3d prstMaterial="dkEdge">
            <a:bevelT w="508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47" name="TextBox 46"/>
          <p:cNvSpPr txBox="1"/>
          <p:nvPr/>
        </p:nvSpPr>
        <p:spPr>
          <a:xfrm>
            <a:off x="8493277" y="5105400"/>
            <a:ext cx="31460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Calibri"/>
              </a:rPr>
              <a:t>6</a:t>
            </a:r>
          </a:p>
        </p:txBody>
      </p:sp>
      <p:grpSp>
        <p:nvGrpSpPr>
          <p:cNvPr id="48" name="Group 47"/>
          <p:cNvGrpSpPr/>
          <p:nvPr/>
        </p:nvGrpSpPr>
        <p:grpSpPr>
          <a:xfrm>
            <a:off x="2260505" y="5117663"/>
            <a:ext cx="5740495" cy="582681"/>
            <a:chOff x="344039" y="1259422"/>
            <a:chExt cx="5770579" cy="775497"/>
          </a:xfrm>
          <a:solidFill>
            <a:srgbClr val="6600FF"/>
          </a:solidFill>
        </p:grpSpPr>
        <p:sp>
          <p:nvSpPr>
            <p:cNvPr id="51" name="Rounded Rectangle 50"/>
            <p:cNvSpPr/>
            <p:nvPr/>
          </p:nvSpPr>
          <p:spPr>
            <a:xfrm>
              <a:off x="344039" y="1259422"/>
              <a:ext cx="5770579" cy="761963"/>
            </a:xfrm>
            <a:prstGeom prst="roundRect">
              <a:avLst>
                <a:gd name="adj" fmla="val 40104"/>
              </a:avLst>
            </a:prstGeom>
            <a:noFill/>
            <a:ln w="25400" cap="flat" cmpd="sng" algn="ctr">
              <a:gradFill flip="none" rotWithShape="1">
                <a:gsLst>
                  <a:gs pos="0">
                    <a:srgbClr val="7B57A8"/>
                  </a:gs>
                  <a:gs pos="100000">
                    <a:sysClr val="window" lastClr="FFFFFF">
                      <a:alpha val="0"/>
                    </a:sysClr>
                  </a:gs>
                </a:gsLst>
                <a:lin ang="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smtClean="0">
                <a:ln>
                  <a:noFill/>
                </a:ln>
                <a:solidFill>
                  <a:prstClr val="black"/>
                </a:solidFill>
                <a:effectLst/>
                <a:uLnTx/>
                <a:uFillTx/>
                <a:latin typeface="Calibri"/>
                <a:ea typeface="+mn-ea"/>
                <a:cs typeface="Arial" pitchFamily="34" charset="0"/>
              </a:endParaRPr>
            </a:p>
          </p:txBody>
        </p:sp>
        <p:sp>
          <p:nvSpPr>
            <p:cNvPr id="50" name="Rectangle 49"/>
            <p:cNvSpPr/>
            <p:nvPr/>
          </p:nvSpPr>
          <p:spPr>
            <a:xfrm>
              <a:off x="598723" y="1297597"/>
              <a:ext cx="5312684" cy="73732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b="1" kern="0" dirty="0" smtClean="0">
                  <a:solidFill>
                    <a:prstClr val="black"/>
                  </a:solidFill>
                  <a:latin typeface="Calibri"/>
                </a:rPr>
                <a:t>Utilizing in modern manufacturing on parts that were originally manufactured before CAD</a:t>
              </a:r>
              <a:endParaRPr kumimoji="0" lang="en-US" sz="1500" b="1" i="0" u="none" strike="noStrike" kern="0" cap="none" spc="0" normalizeH="0" baseline="0" noProof="0" dirty="0" smtClean="0">
                <a:ln>
                  <a:noFill/>
                </a:ln>
                <a:solidFill>
                  <a:prstClr val="black"/>
                </a:solidFill>
                <a:effectLst/>
                <a:uLnTx/>
                <a:uFillTx/>
                <a:latin typeface="Calibri"/>
              </a:endParaRPr>
            </a:p>
          </p:txBody>
        </p:sp>
      </p:grpSp>
      <p:sp>
        <p:nvSpPr>
          <p:cNvPr id="55" name="Oval 54"/>
          <p:cNvSpPr/>
          <p:nvPr/>
        </p:nvSpPr>
        <p:spPr>
          <a:xfrm>
            <a:off x="2139339" y="5263604"/>
            <a:ext cx="375261" cy="280629"/>
          </a:xfrm>
          <a:prstGeom prst="ellipse">
            <a:avLst/>
          </a:prstGeom>
          <a:gradFill flip="none" rotWithShape="1">
            <a:gsLst>
              <a:gs pos="75000">
                <a:srgbClr val="7B57A8"/>
              </a:gs>
              <a:gs pos="0">
                <a:sysClr val="window" lastClr="FFFFFF"/>
              </a:gs>
            </a:gsLst>
            <a:path path="circle">
              <a:fillToRect l="50000" t="50000" r="50000" b="50000"/>
            </a:path>
            <a:tileRect/>
          </a:gradFill>
          <a:ln w="25400" cap="flat" cmpd="sng" algn="ctr">
            <a:noFill/>
            <a:prstDash val="solid"/>
          </a:ln>
          <a:effectLst>
            <a:innerShdw blurRad="114300">
              <a:prstClr val="black"/>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97468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2" grpId="0" animBg="1"/>
      <p:bldP spid="71" grpId="0" animBg="1"/>
      <p:bldP spid="70" grpId="0" animBg="1"/>
      <p:bldP spid="68" grpId="0" animBg="1"/>
      <p:bldP spid="63" grpId="0"/>
      <p:bldP spid="64" grpId="0"/>
      <p:bldP spid="65" grpId="0"/>
      <p:bldP spid="66" grpId="0"/>
      <p:bldP spid="6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CG Powerpoint template 4x3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14748</TotalTime>
  <Words>382</Words>
  <Application>Microsoft Office PowerPoint</Application>
  <PresentationFormat>Custom</PresentationFormat>
  <Paragraphs>116</Paragraphs>
  <Slides>13</Slides>
  <Notes>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3</vt:i4>
      </vt:variant>
    </vt:vector>
  </HeadingPairs>
  <TitlesOfParts>
    <vt:vector size="20" baseType="lpstr">
      <vt:lpstr>Capgemini_Template</vt:lpstr>
      <vt:lpstr>Section slides</vt:lpstr>
      <vt:lpstr>Content Layouts</vt:lpstr>
      <vt:lpstr>Content and Image Layouts</vt:lpstr>
      <vt:lpstr>1_CG Powerpoint template 4x3 (1)</vt:lpstr>
      <vt:lpstr>1_Content Layouts</vt:lpstr>
      <vt:lpstr>think-cell Slide</vt:lpstr>
      <vt:lpstr>Digital Factory Operating System </vt:lpstr>
      <vt:lpstr>Agenda</vt:lpstr>
      <vt:lpstr>Business Context</vt:lpstr>
      <vt:lpstr>Problem Statements</vt:lpstr>
      <vt:lpstr>Problem Statements</vt:lpstr>
      <vt:lpstr>Solution</vt:lpstr>
      <vt:lpstr>Solution Approach</vt:lpstr>
      <vt:lpstr>Features</vt:lpstr>
      <vt:lpstr>Benefits</vt:lpstr>
      <vt:lpstr>Business Quantification</vt:lpstr>
      <vt:lpstr>Road Map</vt:lpstr>
      <vt:lpstr>                                       Q &amp; A</vt:lpstr>
      <vt:lpstr>PowerPoint Presentation</vt:lpstr>
    </vt:vector>
  </TitlesOfParts>
  <Company>IG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Saravanakarthikeyan  Lakshminarayanan</dc:creator>
  <cp:lastModifiedBy>Vidhya Selvaraj</cp:lastModifiedBy>
  <cp:revision>2187</cp:revision>
  <dcterms:created xsi:type="dcterms:W3CDTF">2017-10-19T05:01:32Z</dcterms:created>
  <dcterms:modified xsi:type="dcterms:W3CDTF">2018-11-29T07:51:20Z</dcterms:modified>
</cp:coreProperties>
</file>